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8.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9.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0.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1.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4"/>
    <p:sldMasterId id="2147483678" r:id="rId5"/>
    <p:sldMasterId id="2147483687" r:id="rId6"/>
    <p:sldMasterId id="2147483699" r:id="rId7"/>
    <p:sldMasterId id="2147483712" r:id="rId8"/>
    <p:sldMasterId id="2147483722" r:id="rId9"/>
    <p:sldMasterId id="2147483727" r:id="rId10"/>
    <p:sldMasterId id="2147483733" r:id="rId11"/>
    <p:sldMasterId id="2147483738" r:id="rId12"/>
    <p:sldMasterId id="2147483742" r:id="rId13"/>
    <p:sldMasterId id="2147483755" r:id="rId14"/>
    <p:sldMasterId id="2147483767" r:id="rId15"/>
    <p:sldMasterId id="2147483779" r:id="rId16"/>
  </p:sldMasterIdLst>
  <p:notesMasterIdLst>
    <p:notesMasterId r:id="rId56"/>
  </p:notesMasterIdLst>
  <p:handoutMasterIdLst>
    <p:handoutMasterId r:id="rId57"/>
  </p:handoutMasterIdLst>
  <p:sldIdLst>
    <p:sldId id="537" r:id="rId17"/>
    <p:sldId id="290" r:id="rId18"/>
    <p:sldId id="580" r:id="rId19"/>
    <p:sldId id="569" r:id="rId20"/>
    <p:sldId id="558" r:id="rId21"/>
    <p:sldId id="577" r:id="rId22"/>
    <p:sldId id="570" r:id="rId23"/>
    <p:sldId id="362" r:id="rId24"/>
    <p:sldId id="530" r:id="rId25"/>
    <p:sldId id="318" r:id="rId26"/>
    <p:sldId id="540" r:id="rId27"/>
    <p:sldId id="543" r:id="rId28"/>
    <p:sldId id="295" r:id="rId29"/>
    <p:sldId id="560" r:id="rId30"/>
    <p:sldId id="573" r:id="rId31"/>
    <p:sldId id="582" r:id="rId32"/>
    <p:sldId id="325" r:id="rId33"/>
    <p:sldId id="333" r:id="rId34"/>
    <p:sldId id="337" r:id="rId35"/>
    <p:sldId id="579" r:id="rId36"/>
    <p:sldId id="578" r:id="rId37"/>
    <p:sldId id="344" r:id="rId38"/>
    <p:sldId id="581" r:id="rId39"/>
    <p:sldId id="545" r:id="rId40"/>
    <p:sldId id="546" r:id="rId41"/>
    <p:sldId id="547" r:id="rId42"/>
    <p:sldId id="548" r:id="rId43"/>
    <p:sldId id="372" r:id="rId44"/>
    <p:sldId id="549" r:id="rId45"/>
    <p:sldId id="552" r:id="rId46"/>
    <p:sldId id="302" r:id="rId47"/>
    <p:sldId id="303" r:id="rId48"/>
    <p:sldId id="553" r:id="rId49"/>
    <p:sldId id="542" r:id="rId50"/>
    <p:sldId id="576" r:id="rId51"/>
    <p:sldId id="574" r:id="rId52"/>
    <p:sldId id="568" r:id="rId53"/>
    <p:sldId id="529" r:id="rId54"/>
    <p:sldId id="534" r:id="rId55"/>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152" algn="l" rtl="0" fontAlgn="base">
      <a:spcBef>
        <a:spcPct val="0"/>
      </a:spcBef>
      <a:spcAft>
        <a:spcPct val="0"/>
      </a:spcAft>
      <a:defRPr kern="1200">
        <a:solidFill>
          <a:schemeClr val="tx1"/>
        </a:solidFill>
        <a:latin typeface="Arial" charset="0"/>
        <a:ea typeface="+mn-ea"/>
        <a:cs typeface="+mn-cs"/>
      </a:defRPr>
    </a:lvl2pPr>
    <a:lvl3pPr marL="914303" algn="l" rtl="0" fontAlgn="base">
      <a:spcBef>
        <a:spcPct val="0"/>
      </a:spcBef>
      <a:spcAft>
        <a:spcPct val="0"/>
      </a:spcAft>
      <a:defRPr kern="1200">
        <a:solidFill>
          <a:schemeClr val="tx1"/>
        </a:solidFill>
        <a:latin typeface="Arial" charset="0"/>
        <a:ea typeface="+mn-ea"/>
        <a:cs typeface="+mn-cs"/>
      </a:defRPr>
    </a:lvl3pPr>
    <a:lvl4pPr marL="1371455" algn="l" rtl="0" fontAlgn="base">
      <a:spcBef>
        <a:spcPct val="0"/>
      </a:spcBef>
      <a:spcAft>
        <a:spcPct val="0"/>
      </a:spcAft>
      <a:defRPr kern="1200">
        <a:solidFill>
          <a:schemeClr val="tx1"/>
        </a:solidFill>
        <a:latin typeface="Arial" charset="0"/>
        <a:ea typeface="+mn-ea"/>
        <a:cs typeface="+mn-cs"/>
      </a:defRPr>
    </a:lvl4pPr>
    <a:lvl5pPr marL="1828606" algn="l" rtl="0" fontAlgn="base">
      <a:spcBef>
        <a:spcPct val="0"/>
      </a:spcBef>
      <a:spcAft>
        <a:spcPct val="0"/>
      </a:spcAft>
      <a:defRPr kern="1200">
        <a:solidFill>
          <a:schemeClr val="tx1"/>
        </a:solidFill>
        <a:latin typeface="Arial" charset="0"/>
        <a:ea typeface="+mn-ea"/>
        <a:cs typeface="+mn-cs"/>
      </a:defRPr>
    </a:lvl5pPr>
    <a:lvl6pPr marL="2285758" algn="l" defTabSz="914303" rtl="0" eaLnBrk="1" latinLnBrk="0" hangingPunct="1">
      <a:defRPr kern="1200">
        <a:solidFill>
          <a:schemeClr val="tx1"/>
        </a:solidFill>
        <a:latin typeface="Arial" charset="0"/>
        <a:ea typeface="+mn-ea"/>
        <a:cs typeface="+mn-cs"/>
      </a:defRPr>
    </a:lvl6pPr>
    <a:lvl7pPr marL="2742909" algn="l" defTabSz="914303" rtl="0" eaLnBrk="1" latinLnBrk="0" hangingPunct="1">
      <a:defRPr kern="1200">
        <a:solidFill>
          <a:schemeClr val="tx1"/>
        </a:solidFill>
        <a:latin typeface="Arial" charset="0"/>
        <a:ea typeface="+mn-ea"/>
        <a:cs typeface="+mn-cs"/>
      </a:defRPr>
    </a:lvl7pPr>
    <a:lvl8pPr marL="3200061" algn="l" defTabSz="914303" rtl="0" eaLnBrk="1" latinLnBrk="0" hangingPunct="1">
      <a:defRPr kern="1200">
        <a:solidFill>
          <a:schemeClr val="tx1"/>
        </a:solidFill>
        <a:latin typeface="Arial" charset="0"/>
        <a:ea typeface="+mn-ea"/>
        <a:cs typeface="+mn-cs"/>
      </a:defRPr>
    </a:lvl8pPr>
    <a:lvl9pPr marL="3657212" algn="l" defTabSz="914303"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2881">
          <p15:clr>
            <a:srgbClr val="A4A3A4"/>
          </p15:clr>
        </p15:guide>
      </p15:sldGuideLst>
    </p:ext>
    <p:ext uri="{2D200454-40CA-4A62-9FC3-DE9A4176ACB9}">
      <p15:notesGuideLst xmlns:p15="http://schemas.microsoft.com/office/powerpoint/2012/main">
        <p15:guide id="1" orient="horz" pos="2928">
          <p15:clr>
            <a:srgbClr val="A4A3A4"/>
          </p15:clr>
        </p15:guide>
        <p15:guide id="2" pos="220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00269E"/>
    <a:srgbClr val="B3CCFF"/>
    <a:srgbClr val="27387E"/>
    <a:srgbClr val="4C5F27"/>
    <a:srgbClr val="6D8838"/>
    <a:srgbClr val="FFFF66"/>
    <a:srgbClr val="FFFFCC"/>
    <a:srgbClr val="FF944B"/>
    <a:srgbClr val="ABC7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802"/>
    <p:restoredTop sz="94634"/>
  </p:normalViewPr>
  <p:slideViewPr>
    <p:cSldViewPr snapToGrid="0">
      <p:cViewPr varScale="1">
        <p:scale>
          <a:sx n="136" d="100"/>
          <a:sy n="136" d="100"/>
        </p:scale>
        <p:origin x="1056" y="192"/>
      </p:cViewPr>
      <p:guideLst>
        <p:guide orient="horz" pos="2160"/>
        <p:guide pos="2880"/>
        <p:guide pos="2881"/>
      </p:guideLst>
    </p:cSldViewPr>
  </p:slideViewPr>
  <p:notesTextViewPr>
    <p:cViewPr>
      <p:scale>
        <a:sx n="1" d="1"/>
        <a:sy n="1" d="1"/>
      </p:scale>
      <p:origin x="0" y="0"/>
    </p:cViewPr>
  </p:notesTextViewPr>
  <p:notesViewPr>
    <p:cSldViewPr snapToGrid="0">
      <p:cViewPr>
        <p:scale>
          <a:sx n="1" d="2"/>
          <a:sy n="1" d="2"/>
        </p:scale>
        <p:origin x="0" y="0"/>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theme" Target="theme/theme1.xml"/><Relationship Id="rId19" Type="http://schemas.openxmlformats.org/officeDocument/2006/relationships/slide" Target="slides/slide3.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presProps" Target="presProps.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handoutMaster" Target="handoutMasters/handoutMaster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iagrams/_rels/data3.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diagrams/_rels/data6.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svg"/><Relationship Id="rId1" Type="http://schemas.openxmlformats.org/officeDocument/2006/relationships/image" Target="../media/image64.png"/><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svg"/></Relationships>
</file>

<file path=ppt/diagrams/_rels/drawing3.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diagrams/_rels/drawing6.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image" Target="../media/image65.svg"/><Relationship Id="rId1" Type="http://schemas.openxmlformats.org/officeDocument/2006/relationships/image" Target="../media/image64.png"/><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AB68A6-3D18-474F-9611-91B0BE051285}" type="doc">
      <dgm:prSet loTypeId="urn:microsoft.com/office/officeart/2005/8/layout/default" loCatId="list" qsTypeId="urn:microsoft.com/office/officeart/2005/8/quickstyle/simple1" qsCatId="simple" csTypeId="urn:microsoft.com/office/officeart/2005/8/colors/colorful2" csCatId="colorful"/>
      <dgm:spPr/>
      <dgm:t>
        <a:bodyPr/>
        <a:lstStyle/>
        <a:p>
          <a:endParaRPr lang="en-US"/>
        </a:p>
      </dgm:t>
    </dgm:pt>
    <dgm:pt modelId="{33608C08-D207-495D-AF8E-F962EA949DF1}">
      <dgm:prSet/>
      <dgm:spPr/>
      <dgm:t>
        <a:bodyPr/>
        <a:lstStyle/>
        <a:p>
          <a:r>
            <a:rPr lang="en-US"/>
            <a:t>Policy </a:t>
          </a:r>
        </a:p>
      </dgm:t>
    </dgm:pt>
    <dgm:pt modelId="{155B9DA6-E4F8-4798-9698-229983AD13AD}" type="parTrans" cxnId="{85393A5F-CFAA-4368-B9D7-86EA77BE84AB}">
      <dgm:prSet/>
      <dgm:spPr/>
      <dgm:t>
        <a:bodyPr/>
        <a:lstStyle/>
        <a:p>
          <a:endParaRPr lang="en-US"/>
        </a:p>
      </dgm:t>
    </dgm:pt>
    <dgm:pt modelId="{1E43CDB3-7D9A-4AC7-BD37-A8917AF78A9F}" type="sibTrans" cxnId="{85393A5F-CFAA-4368-B9D7-86EA77BE84AB}">
      <dgm:prSet/>
      <dgm:spPr/>
      <dgm:t>
        <a:bodyPr/>
        <a:lstStyle/>
        <a:p>
          <a:endParaRPr lang="en-US"/>
        </a:p>
      </dgm:t>
    </dgm:pt>
    <dgm:pt modelId="{AF2A93CF-176F-459C-9979-372173FC09F2}">
      <dgm:prSet/>
      <dgm:spPr/>
      <dgm:t>
        <a:bodyPr/>
        <a:lstStyle/>
        <a:p>
          <a:r>
            <a:rPr lang="en-US"/>
            <a:t>Funding</a:t>
          </a:r>
        </a:p>
      </dgm:t>
    </dgm:pt>
    <dgm:pt modelId="{360D446B-94F7-4468-A6FC-0C093494A0B6}" type="parTrans" cxnId="{69B981E2-365D-4E61-B4A1-1F844E252580}">
      <dgm:prSet/>
      <dgm:spPr/>
      <dgm:t>
        <a:bodyPr/>
        <a:lstStyle/>
        <a:p>
          <a:endParaRPr lang="en-US"/>
        </a:p>
      </dgm:t>
    </dgm:pt>
    <dgm:pt modelId="{A8EE4CC1-0D06-4305-980A-9002B90F64A3}" type="sibTrans" cxnId="{69B981E2-365D-4E61-B4A1-1F844E252580}">
      <dgm:prSet/>
      <dgm:spPr/>
      <dgm:t>
        <a:bodyPr/>
        <a:lstStyle/>
        <a:p>
          <a:endParaRPr lang="en-US"/>
        </a:p>
      </dgm:t>
    </dgm:pt>
    <dgm:pt modelId="{AE1262F4-A711-4263-9CB7-33009EB9F779}">
      <dgm:prSet/>
      <dgm:spPr/>
      <dgm:t>
        <a:bodyPr/>
        <a:lstStyle/>
        <a:p>
          <a:r>
            <a:rPr lang="en-US"/>
            <a:t>Lack of Access to Assessment</a:t>
          </a:r>
        </a:p>
      </dgm:t>
    </dgm:pt>
    <dgm:pt modelId="{C6C70714-085E-4099-841F-310CC087A1BF}" type="parTrans" cxnId="{5915A5BC-DC7D-4968-8970-3D20846778A9}">
      <dgm:prSet/>
      <dgm:spPr/>
      <dgm:t>
        <a:bodyPr/>
        <a:lstStyle/>
        <a:p>
          <a:endParaRPr lang="en-US"/>
        </a:p>
      </dgm:t>
    </dgm:pt>
    <dgm:pt modelId="{F7B798BB-9CF2-4C8E-8761-5F383E5FCEB6}" type="sibTrans" cxnId="{5915A5BC-DC7D-4968-8970-3D20846778A9}">
      <dgm:prSet/>
      <dgm:spPr/>
      <dgm:t>
        <a:bodyPr/>
        <a:lstStyle/>
        <a:p>
          <a:endParaRPr lang="en-US"/>
        </a:p>
      </dgm:t>
    </dgm:pt>
    <dgm:pt modelId="{D4F1CFA4-054F-43C7-821E-33130503397E}">
      <dgm:prSet/>
      <dgm:spPr/>
      <dgm:t>
        <a:bodyPr/>
        <a:lstStyle/>
        <a:p>
          <a:r>
            <a:rPr lang="en-US"/>
            <a:t>Unawareness/Lack of training</a:t>
          </a:r>
        </a:p>
      </dgm:t>
    </dgm:pt>
    <dgm:pt modelId="{BD275A25-2D54-4616-91A7-0DB14B259C3C}" type="parTrans" cxnId="{51A4A839-D254-4D50-ADBC-0686B010D646}">
      <dgm:prSet/>
      <dgm:spPr/>
      <dgm:t>
        <a:bodyPr/>
        <a:lstStyle/>
        <a:p>
          <a:endParaRPr lang="en-US"/>
        </a:p>
      </dgm:t>
    </dgm:pt>
    <dgm:pt modelId="{7B51ADBD-BD45-4927-8451-E9E1CC271E6A}" type="sibTrans" cxnId="{51A4A839-D254-4D50-ADBC-0686B010D646}">
      <dgm:prSet/>
      <dgm:spPr/>
      <dgm:t>
        <a:bodyPr/>
        <a:lstStyle/>
        <a:p>
          <a:endParaRPr lang="en-US"/>
        </a:p>
      </dgm:t>
    </dgm:pt>
    <dgm:pt modelId="{6786CCBD-1FDC-4423-925F-C169BCC38D64}">
      <dgm:prSet/>
      <dgm:spPr/>
      <dgm:t>
        <a:bodyPr/>
        <a:lstStyle/>
        <a:p>
          <a:r>
            <a:rPr lang="en-US"/>
            <a:t>Understudied Population/Subject</a:t>
          </a:r>
        </a:p>
      </dgm:t>
    </dgm:pt>
    <dgm:pt modelId="{CFA68372-328D-478C-B758-8BC0B0B899E5}" type="parTrans" cxnId="{42A3FF6D-A08D-4FD9-B2A8-E9FE82955242}">
      <dgm:prSet/>
      <dgm:spPr/>
      <dgm:t>
        <a:bodyPr/>
        <a:lstStyle/>
        <a:p>
          <a:endParaRPr lang="en-US"/>
        </a:p>
      </dgm:t>
    </dgm:pt>
    <dgm:pt modelId="{5DB4BA2C-FDD7-43C0-B997-6D1A41752630}" type="sibTrans" cxnId="{42A3FF6D-A08D-4FD9-B2A8-E9FE82955242}">
      <dgm:prSet/>
      <dgm:spPr/>
      <dgm:t>
        <a:bodyPr/>
        <a:lstStyle/>
        <a:p>
          <a:endParaRPr lang="en-US"/>
        </a:p>
      </dgm:t>
    </dgm:pt>
    <dgm:pt modelId="{7746AD2C-E7CE-4D6D-8F19-402154E881EE}" type="pres">
      <dgm:prSet presAssocID="{87AB68A6-3D18-474F-9611-91B0BE051285}" presName="diagram" presStyleCnt="0">
        <dgm:presLayoutVars>
          <dgm:dir/>
          <dgm:resizeHandles val="exact"/>
        </dgm:presLayoutVars>
      </dgm:prSet>
      <dgm:spPr/>
    </dgm:pt>
    <dgm:pt modelId="{95099C8A-A59A-4E98-AD31-975192B32BF0}" type="pres">
      <dgm:prSet presAssocID="{33608C08-D207-495D-AF8E-F962EA949DF1}" presName="node" presStyleLbl="node1" presStyleIdx="0" presStyleCnt="5">
        <dgm:presLayoutVars>
          <dgm:bulletEnabled val="1"/>
        </dgm:presLayoutVars>
      </dgm:prSet>
      <dgm:spPr/>
    </dgm:pt>
    <dgm:pt modelId="{39BC3A0B-CAB3-4C5F-8013-D32FDCC1F0F9}" type="pres">
      <dgm:prSet presAssocID="{1E43CDB3-7D9A-4AC7-BD37-A8917AF78A9F}" presName="sibTrans" presStyleCnt="0"/>
      <dgm:spPr/>
    </dgm:pt>
    <dgm:pt modelId="{E7C2AECE-5345-4ADA-B071-99C09704E1E8}" type="pres">
      <dgm:prSet presAssocID="{AF2A93CF-176F-459C-9979-372173FC09F2}" presName="node" presStyleLbl="node1" presStyleIdx="1" presStyleCnt="5">
        <dgm:presLayoutVars>
          <dgm:bulletEnabled val="1"/>
        </dgm:presLayoutVars>
      </dgm:prSet>
      <dgm:spPr/>
    </dgm:pt>
    <dgm:pt modelId="{155F9F43-757E-46A5-8BCA-31F391576919}" type="pres">
      <dgm:prSet presAssocID="{A8EE4CC1-0D06-4305-980A-9002B90F64A3}" presName="sibTrans" presStyleCnt="0"/>
      <dgm:spPr/>
    </dgm:pt>
    <dgm:pt modelId="{56D6B2B2-64A4-4E85-9481-79E99F20181A}" type="pres">
      <dgm:prSet presAssocID="{AE1262F4-A711-4263-9CB7-33009EB9F779}" presName="node" presStyleLbl="node1" presStyleIdx="2" presStyleCnt="5">
        <dgm:presLayoutVars>
          <dgm:bulletEnabled val="1"/>
        </dgm:presLayoutVars>
      </dgm:prSet>
      <dgm:spPr/>
    </dgm:pt>
    <dgm:pt modelId="{8E943C62-1707-4349-841C-61F8F19153E6}" type="pres">
      <dgm:prSet presAssocID="{F7B798BB-9CF2-4C8E-8761-5F383E5FCEB6}" presName="sibTrans" presStyleCnt="0"/>
      <dgm:spPr/>
    </dgm:pt>
    <dgm:pt modelId="{B2B05537-BE40-4667-8AF6-CC50894BFC81}" type="pres">
      <dgm:prSet presAssocID="{D4F1CFA4-054F-43C7-821E-33130503397E}" presName="node" presStyleLbl="node1" presStyleIdx="3" presStyleCnt="5">
        <dgm:presLayoutVars>
          <dgm:bulletEnabled val="1"/>
        </dgm:presLayoutVars>
      </dgm:prSet>
      <dgm:spPr/>
    </dgm:pt>
    <dgm:pt modelId="{E396661F-46E6-42E4-B6C1-6647332104DF}" type="pres">
      <dgm:prSet presAssocID="{7B51ADBD-BD45-4927-8451-E9E1CC271E6A}" presName="sibTrans" presStyleCnt="0"/>
      <dgm:spPr/>
    </dgm:pt>
    <dgm:pt modelId="{6C2DCEA8-F38D-4822-9ECC-E1B29A8E64A4}" type="pres">
      <dgm:prSet presAssocID="{6786CCBD-1FDC-4423-925F-C169BCC38D64}" presName="node" presStyleLbl="node1" presStyleIdx="4" presStyleCnt="5">
        <dgm:presLayoutVars>
          <dgm:bulletEnabled val="1"/>
        </dgm:presLayoutVars>
      </dgm:prSet>
      <dgm:spPr/>
    </dgm:pt>
  </dgm:ptLst>
  <dgm:cxnLst>
    <dgm:cxn modelId="{51A4A839-D254-4D50-ADBC-0686B010D646}" srcId="{87AB68A6-3D18-474F-9611-91B0BE051285}" destId="{D4F1CFA4-054F-43C7-821E-33130503397E}" srcOrd="3" destOrd="0" parTransId="{BD275A25-2D54-4616-91A7-0DB14B259C3C}" sibTransId="{7B51ADBD-BD45-4927-8451-E9E1CC271E6A}"/>
    <dgm:cxn modelId="{C5D2DC45-67C0-46BB-AD9D-AF8DBD1EFF7A}" type="presOf" srcId="{6786CCBD-1FDC-4423-925F-C169BCC38D64}" destId="{6C2DCEA8-F38D-4822-9ECC-E1B29A8E64A4}" srcOrd="0" destOrd="0" presId="urn:microsoft.com/office/officeart/2005/8/layout/default"/>
    <dgm:cxn modelId="{EE567755-ACEA-466B-8090-24F84E410A6E}" type="presOf" srcId="{AE1262F4-A711-4263-9CB7-33009EB9F779}" destId="{56D6B2B2-64A4-4E85-9481-79E99F20181A}" srcOrd="0" destOrd="0" presId="urn:microsoft.com/office/officeart/2005/8/layout/default"/>
    <dgm:cxn modelId="{85393A5F-CFAA-4368-B9D7-86EA77BE84AB}" srcId="{87AB68A6-3D18-474F-9611-91B0BE051285}" destId="{33608C08-D207-495D-AF8E-F962EA949DF1}" srcOrd="0" destOrd="0" parTransId="{155B9DA6-E4F8-4798-9698-229983AD13AD}" sibTransId="{1E43CDB3-7D9A-4AC7-BD37-A8917AF78A9F}"/>
    <dgm:cxn modelId="{9E5AD764-CE95-4A5D-82CE-4D1225E23D1B}" type="presOf" srcId="{AF2A93CF-176F-459C-9979-372173FC09F2}" destId="{E7C2AECE-5345-4ADA-B071-99C09704E1E8}" srcOrd="0" destOrd="0" presId="urn:microsoft.com/office/officeart/2005/8/layout/default"/>
    <dgm:cxn modelId="{2C415D66-ED00-4FBE-88EB-9A1DE8BC6A1D}" type="presOf" srcId="{33608C08-D207-495D-AF8E-F962EA949DF1}" destId="{95099C8A-A59A-4E98-AD31-975192B32BF0}" srcOrd="0" destOrd="0" presId="urn:microsoft.com/office/officeart/2005/8/layout/default"/>
    <dgm:cxn modelId="{3B75F366-D3A6-4922-86EF-82C30970B62F}" type="presOf" srcId="{87AB68A6-3D18-474F-9611-91B0BE051285}" destId="{7746AD2C-E7CE-4D6D-8F19-402154E881EE}" srcOrd="0" destOrd="0" presId="urn:microsoft.com/office/officeart/2005/8/layout/default"/>
    <dgm:cxn modelId="{42A3FF6D-A08D-4FD9-B2A8-E9FE82955242}" srcId="{87AB68A6-3D18-474F-9611-91B0BE051285}" destId="{6786CCBD-1FDC-4423-925F-C169BCC38D64}" srcOrd="4" destOrd="0" parTransId="{CFA68372-328D-478C-B758-8BC0B0B899E5}" sibTransId="{5DB4BA2C-FDD7-43C0-B997-6D1A41752630}"/>
    <dgm:cxn modelId="{5C484280-7A58-4BC0-951A-48A650E077D5}" type="presOf" srcId="{D4F1CFA4-054F-43C7-821E-33130503397E}" destId="{B2B05537-BE40-4667-8AF6-CC50894BFC81}" srcOrd="0" destOrd="0" presId="urn:microsoft.com/office/officeart/2005/8/layout/default"/>
    <dgm:cxn modelId="{5915A5BC-DC7D-4968-8970-3D20846778A9}" srcId="{87AB68A6-3D18-474F-9611-91B0BE051285}" destId="{AE1262F4-A711-4263-9CB7-33009EB9F779}" srcOrd="2" destOrd="0" parTransId="{C6C70714-085E-4099-841F-310CC087A1BF}" sibTransId="{F7B798BB-9CF2-4C8E-8761-5F383E5FCEB6}"/>
    <dgm:cxn modelId="{69B981E2-365D-4E61-B4A1-1F844E252580}" srcId="{87AB68A6-3D18-474F-9611-91B0BE051285}" destId="{AF2A93CF-176F-459C-9979-372173FC09F2}" srcOrd="1" destOrd="0" parTransId="{360D446B-94F7-4468-A6FC-0C093494A0B6}" sibTransId="{A8EE4CC1-0D06-4305-980A-9002B90F64A3}"/>
    <dgm:cxn modelId="{142FA95C-044D-41CF-9662-4485AA485E1E}" type="presParOf" srcId="{7746AD2C-E7CE-4D6D-8F19-402154E881EE}" destId="{95099C8A-A59A-4E98-AD31-975192B32BF0}" srcOrd="0" destOrd="0" presId="urn:microsoft.com/office/officeart/2005/8/layout/default"/>
    <dgm:cxn modelId="{533B86A5-1D3F-47AA-BB51-5E6BBA05B604}" type="presParOf" srcId="{7746AD2C-E7CE-4D6D-8F19-402154E881EE}" destId="{39BC3A0B-CAB3-4C5F-8013-D32FDCC1F0F9}" srcOrd="1" destOrd="0" presId="urn:microsoft.com/office/officeart/2005/8/layout/default"/>
    <dgm:cxn modelId="{05FF0E5F-7115-46F9-A4BC-1B3794C4E5A8}" type="presParOf" srcId="{7746AD2C-E7CE-4D6D-8F19-402154E881EE}" destId="{E7C2AECE-5345-4ADA-B071-99C09704E1E8}" srcOrd="2" destOrd="0" presId="urn:microsoft.com/office/officeart/2005/8/layout/default"/>
    <dgm:cxn modelId="{2D58765F-F801-47C5-9745-EB45C9EE546E}" type="presParOf" srcId="{7746AD2C-E7CE-4D6D-8F19-402154E881EE}" destId="{155F9F43-757E-46A5-8BCA-31F391576919}" srcOrd="3" destOrd="0" presId="urn:microsoft.com/office/officeart/2005/8/layout/default"/>
    <dgm:cxn modelId="{81FED07E-77A0-4B36-B06F-92D0F9CFAF6C}" type="presParOf" srcId="{7746AD2C-E7CE-4D6D-8F19-402154E881EE}" destId="{56D6B2B2-64A4-4E85-9481-79E99F20181A}" srcOrd="4" destOrd="0" presId="urn:microsoft.com/office/officeart/2005/8/layout/default"/>
    <dgm:cxn modelId="{49ABB79D-F4C5-4ECA-A3A4-BB40011AFF7E}" type="presParOf" srcId="{7746AD2C-E7CE-4D6D-8F19-402154E881EE}" destId="{8E943C62-1707-4349-841C-61F8F19153E6}" srcOrd="5" destOrd="0" presId="urn:microsoft.com/office/officeart/2005/8/layout/default"/>
    <dgm:cxn modelId="{FBA79D14-E501-43B6-8D39-69F9C97E07EF}" type="presParOf" srcId="{7746AD2C-E7CE-4D6D-8F19-402154E881EE}" destId="{B2B05537-BE40-4667-8AF6-CC50894BFC81}" srcOrd="6" destOrd="0" presId="urn:microsoft.com/office/officeart/2005/8/layout/default"/>
    <dgm:cxn modelId="{AE430EA6-805F-48A8-9135-141C86A8123E}" type="presParOf" srcId="{7746AD2C-E7CE-4D6D-8F19-402154E881EE}" destId="{E396661F-46E6-42E4-B6C1-6647332104DF}" srcOrd="7" destOrd="0" presId="urn:microsoft.com/office/officeart/2005/8/layout/default"/>
    <dgm:cxn modelId="{9B3DDEBA-3CDB-4D39-9F28-EFD63AD228CB}" type="presParOf" srcId="{7746AD2C-E7CE-4D6D-8F19-402154E881EE}" destId="{6C2DCEA8-F38D-4822-9ECC-E1B29A8E64A4}"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6F1BDC-BC43-44D2-85A3-037989449AD8}"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C609FB96-2609-45C0-B6BE-4C8F7CB219EC}">
      <dgm:prSet/>
      <dgm:spPr/>
      <dgm:t>
        <a:bodyPr/>
        <a:lstStyle/>
        <a:p>
          <a:r>
            <a:rPr lang="en-US"/>
            <a:t>Gap in access to technology leading to barriers in:</a:t>
          </a:r>
        </a:p>
      </dgm:t>
    </dgm:pt>
    <dgm:pt modelId="{5B0E8044-4D69-4F7F-9328-41A7B7C859CB}" type="parTrans" cxnId="{00AA2BA1-ACB2-48D9-8BF7-C9A79B59FFD8}">
      <dgm:prSet/>
      <dgm:spPr/>
      <dgm:t>
        <a:bodyPr/>
        <a:lstStyle/>
        <a:p>
          <a:endParaRPr lang="en-US"/>
        </a:p>
      </dgm:t>
    </dgm:pt>
    <dgm:pt modelId="{658F6ECE-C904-4673-8C7E-CB84DFA5716C}" type="sibTrans" cxnId="{00AA2BA1-ACB2-48D9-8BF7-C9A79B59FFD8}">
      <dgm:prSet/>
      <dgm:spPr/>
      <dgm:t>
        <a:bodyPr/>
        <a:lstStyle/>
        <a:p>
          <a:endParaRPr lang="en-US"/>
        </a:p>
      </dgm:t>
    </dgm:pt>
    <dgm:pt modelId="{0317F226-BF0D-418C-AE87-5C5648538D69}">
      <dgm:prSet/>
      <dgm:spPr/>
      <dgm:t>
        <a:bodyPr/>
        <a:lstStyle/>
        <a:p>
          <a:r>
            <a:rPr lang="en-US"/>
            <a:t>Community access</a:t>
          </a:r>
        </a:p>
      </dgm:t>
    </dgm:pt>
    <dgm:pt modelId="{1324341E-0740-4379-BEBF-59FBE9F90111}" type="parTrans" cxnId="{08FA1434-F713-49AD-831F-229886697485}">
      <dgm:prSet/>
      <dgm:spPr/>
      <dgm:t>
        <a:bodyPr/>
        <a:lstStyle/>
        <a:p>
          <a:endParaRPr lang="en-US"/>
        </a:p>
      </dgm:t>
    </dgm:pt>
    <dgm:pt modelId="{5488A2FE-D749-4ABC-AA93-CA6356BE1B03}" type="sibTrans" cxnId="{08FA1434-F713-49AD-831F-229886697485}">
      <dgm:prSet/>
      <dgm:spPr/>
      <dgm:t>
        <a:bodyPr/>
        <a:lstStyle/>
        <a:p>
          <a:endParaRPr lang="en-US"/>
        </a:p>
      </dgm:t>
    </dgm:pt>
    <dgm:pt modelId="{46765774-B319-4722-B6EA-1610598BAC99}">
      <dgm:prSet/>
      <dgm:spPr/>
      <dgm:t>
        <a:bodyPr/>
        <a:lstStyle/>
        <a:p>
          <a:r>
            <a:rPr lang="en-US"/>
            <a:t>Vocational opportunities</a:t>
          </a:r>
        </a:p>
      </dgm:t>
    </dgm:pt>
    <dgm:pt modelId="{21E16003-ED9F-499B-B986-2432BDCA07EA}" type="parTrans" cxnId="{90D76381-BD6C-4519-98A9-92D71CFC715C}">
      <dgm:prSet/>
      <dgm:spPr/>
      <dgm:t>
        <a:bodyPr/>
        <a:lstStyle/>
        <a:p>
          <a:endParaRPr lang="en-US"/>
        </a:p>
      </dgm:t>
    </dgm:pt>
    <dgm:pt modelId="{DC27E2EF-099D-4228-9574-594D13B9C673}" type="sibTrans" cxnId="{90D76381-BD6C-4519-98A9-92D71CFC715C}">
      <dgm:prSet/>
      <dgm:spPr/>
      <dgm:t>
        <a:bodyPr/>
        <a:lstStyle/>
        <a:p>
          <a:endParaRPr lang="en-US"/>
        </a:p>
      </dgm:t>
    </dgm:pt>
    <dgm:pt modelId="{E5759A70-0A8A-4253-A499-E4E13A13942E}">
      <dgm:prSet/>
      <dgm:spPr/>
      <dgm:t>
        <a:bodyPr/>
        <a:lstStyle/>
        <a:p>
          <a:r>
            <a:rPr lang="en-US"/>
            <a:t>Social participation</a:t>
          </a:r>
        </a:p>
      </dgm:t>
    </dgm:pt>
    <dgm:pt modelId="{2AF51699-CD8E-4AD1-B6F1-478B7BA9E6FC}" type="parTrans" cxnId="{566837DE-E892-4397-8952-AE093A877D94}">
      <dgm:prSet/>
      <dgm:spPr/>
      <dgm:t>
        <a:bodyPr/>
        <a:lstStyle/>
        <a:p>
          <a:endParaRPr lang="en-US"/>
        </a:p>
      </dgm:t>
    </dgm:pt>
    <dgm:pt modelId="{D3D5114A-9FEB-47E5-AB9D-3C58FC25C9C2}" type="sibTrans" cxnId="{566837DE-E892-4397-8952-AE093A877D94}">
      <dgm:prSet/>
      <dgm:spPr/>
      <dgm:t>
        <a:bodyPr/>
        <a:lstStyle/>
        <a:p>
          <a:endParaRPr lang="en-US"/>
        </a:p>
      </dgm:t>
    </dgm:pt>
    <dgm:pt modelId="{7EE0F136-ED0C-4430-8B94-6A8FFF994978}">
      <dgm:prSet/>
      <dgm:spPr/>
      <dgm:t>
        <a:bodyPr/>
        <a:lstStyle/>
        <a:p>
          <a:r>
            <a:rPr lang="en-US"/>
            <a:t>Significant health inequities</a:t>
          </a:r>
        </a:p>
      </dgm:t>
    </dgm:pt>
    <dgm:pt modelId="{2E111979-A783-4545-8BB1-E9B0FF58846D}" type="parTrans" cxnId="{7A05F201-5F31-4D4F-B8D9-FE8C0B9B17D6}">
      <dgm:prSet/>
      <dgm:spPr/>
      <dgm:t>
        <a:bodyPr/>
        <a:lstStyle/>
        <a:p>
          <a:endParaRPr lang="en-US"/>
        </a:p>
      </dgm:t>
    </dgm:pt>
    <dgm:pt modelId="{6A7C38E7-239A-42A8-B7B3-D1504E4CE998}" type="sibTrans" cxnId="{7A05F201-5F31-4D4F-B8D9-FE8C0B9B17D6}">
      <dgm:prSet/>
      <dgm:spPr/>
      <dgm:t>
        <a:bodyPr/>
        <a:lstStyle/>
        <a:p>
          <a:endParaRPr lang="en-US"/>
        </a:p>
      </dgm:t>
    </dgm:pt>
    <dgm:pt modelId="{7B5C0A3B-B4A6-4FA0-929B-160AE79FAD2C}">
      <dgm:prSet/>
      <dgm:spPr/>
      <dgm:t>
        <a:bodyPr/>
        <a:lstStyle/>
        <a:p>
          <a:r>
            <a:rPr lang="en-US"/>
            <a:t>Higher mortality rate from preventable diseases</a:t>
          </a:r>
        </a:p>
      </dgm:t>
    </dgm:pt>
    <dgm:pt modelId="{F1E88394-1EC2-440A-990A-1698DB3F6F46}" type="parTrans" cxnId="{4D5ED66E-1DCD-42DC-BF49-9394E17E5718}">
      <dgm:prSet/>
      <dgm:spPr/>
      <dgm:t>
        <a:bodyPr/>
        <a:lstStyle/>
        <a:p>
          <a:endParaRPr lang="en-US"/>
        </a:p>
      </dgm:t>
    </dgm:pt>
    <dgm:pt modelId="{46A7526E-1807-41FE-8505-B76546BE9E0C}" type="sibTrans" cxnId="{4D5ED66E-1DCD-42DC-BF49-9394E17E5718}">
      <dgm:prSet/>
      <dgm:spPr/>
      <dgm:t>
        <a:bodyPr/>
        <a:lstStyle/>
        <a:p>
          <a:endParaRPr lang="en-US"/>
        </a:p>
      </dgm:t>
    </dgm:pt>
    <dgm:pt modelId="{CA2F9C51-AEC0-4B48-9319-2104DF228E3A}">
      <dgm:prSet/>
      <dgm:spPr/>
      <dgm:t>
        <a:bodyPr/>
        <a:lstStyle/>
        <a:p>
          <a:r>
            <a:rPr lang="en-US"/>
            <a:t>Communication difficulties</a:t>
          </a:r>
        </a:p>
      </dgm:t>
    </dgm:pt>
    <dgm:pt modelId="{2E498DAB-3183-46DC-B45F-7D07544B644C}" type="parTrans" cxnId="{17CD1A8D-556C-4B3E-B5D9-1026E32D2FAB}">
      <dgm:prSet/>
      <dgm:spPr/>
      <dgm:t>
        <a:bodyPr/>
        <a:lstStyle/>
        <a:p>
          <a:endParaRPr lang="en-US"/>
        </a:p>
      </dgm:t>
    </dgm:pt>
    <dgm:pt modelId="{F048AF90-25C9-4CB8-A133-6B2459DAF2E4}" type="sibTrans" cxnId="{17CD1A8D-556C-4B3E-B5D9-1026E32D2FAB}">
      <dgm:prSet/>
      <dgm:spPr/>
      <dgm:t>
        <a:bodyPr/>
        <a:lstStyle/>
        <a:p>
          <a:endParaRPr lang="en-US"/>
        </a:p>
      </dgm:t>
    </dgm:pt>
    <dgm:pt modelId="{70814914-27D0-4631-9481-FBC92E9D7CA3}" type="pres">
      <dgm:prSet presAssocID="{186F1BDC-BC43-44D2-85A3-037989449AD8}" presName="Name0" presStyleCnt="0">
        <dgm:presLayoutVars>
          <dgm:dir/>
          <dgm:animLvl val="lvl"/>
          <dgm:resizeHandles val="exact"/>
        </dgm:presLayoutVars>
      </dgm:prSet>
      <dgm:spPr/>
    </dgm:pt>
    <dgm:pt modelId="{4A8B0861-55EF-4B9A-8B92-ECD9C9A34CEA}" type="pres">
      <dgm:prSet presAssocID="{C609FB96-2609-45C0-B6BE-4C8F7CB219EC}" presName="composite" presStyleCnt="0"/>
      <dgm:spPr/>
    </dgm:pt>
    <dgm:pt modelId="{5D785C40-85EA-4120-B6F7-114822E5A7B1}" type="pres">
      <dgm:prSet presAssocID="{C609FB96-2609-45C0-B6BE-4C8F7CB219EC}" presName="parTx" presStyleLbl="alignNode1" presStyleIdx="0" presStyleCnt="2">
        <dgm:presLayoutVars>
          <dgm:chMax val="0"/>
          <dgm:chPref val="0"/>
          <dgm:bulletEnabled val="1"/>
        </dgm:presLayoutVars>
      </dgm:prSet>
      <dgm:spPr/>
    </dgm:pt>
    <dgm:pt modelId="{2FC46A58-AA89-41FF-81FC-E4C3F621CA4E}" type="pres">
      <dgm:prSet presAssocID="{C609FB96-2609-45C0-B6BE-4C8F7CB219EC}" presName="desTx" presStyleLbl="alignAccFollowNode1" presStyleIdx="0" presStyleCnt="2">
        <dgm:presLayoutVars>
          <dgm:bulletEnabled val="1"/>
        </dgm:presLayoutVars>
      </dgm:prSet>
      <dgm:spPr/>
    </dgm:pt>
    <dgm:pt modelId="{0901280D-8331-4AFC-9D9A-E8699E114A5C}" type="pres">
      <dgm:prSet presAssocID="{658F6ECE-C904-4673-8C7E-CB84DFA5716C}" presName="space" presStyleCnt="0"/>
      <dgm:spPr/>
    </dgm:pt>
    <dgm:pt modelId="{18C31E07-015E-4450-BC93-E78B98AEC0D3}" type="pres">
      <dgm:prSet presAssocID="{7EE0F136-ED0C-4430-8B94-6A8FFF994978}" presName="composite" presStyleCnt="0"/>
      <dgm:spPr/>
    </dgm:pt>
    <dgm:pt modelId="{A66E12E5-E6F7-4A9D-B657-CB7597721B09}" type="pres">
      <dgm:prSet presAssocID="{7EE0F136-ED0C-4430-8B94-6A8FFF994978}" presName="parTx" presStyleLbl="alignNode1" presStyleIdx="1" presStyleCnt="2">
        <dgm:presLayoutVars>
          <dgm:chMax val="0"/>
          <dgm:chPref val="0"/>
          <dgm:bulletEnabled val="1"/>
        </dgm:presLayoutVars>
      </dgm:prSet>
      <dgm:spPr/>
    </dgm:pt>
    <dgm:pt modelId="{C2AB1A28-5E6C-4E55-A3F7-C8FCCE6CB0D5}" type="pres">
      <dgm:prSet presAssocID="{7EE0F136-ED0C-4430-8B94-6A8FFF994978}" presName="desTx" presStyleLbl="alignAccFollowNode1" presStyleIdx="1" presStyleCnt="2">
        <dgm:presLayoutVars>
          <dgm:bulletEnabled val="1"/>
        </dgm:presLayoutVars>
      </dgm:prSet>
      <dgm:spPr/>
    </dgm:pt>
  </dgm:ptLst>
  <dgm:cxnLst>
    <dgm:cxn modelId="{7A05F201-5F31-4D4F-B8D9-FE8C0B9B17D6}" srcId="{186F1BDC-BC43-44D2-85A3-037989449AD8}" destId="{7EE0F136-ED0C-4430-8B94-6A8FFF994978}" srcOrd="1" destOrd="0" parTransId="{2E111979-A783-4545-8BB1-E9B0FF58846D}" sibTransId="{6A7C38E7-239A-42A8-B7B3-D1504E4CE998}"/>
    <dgm:cxn modelId="{08FA1434-F713-49AD-831F-229886697485}" srcId="{C609FB96-2609-45C0-B6BE-4C8F7CB219EC}" destId="{0317F226-BF0D-418C-AE87-5C5648538D69}" srcOrd="0" destOrd="0" parTransId="{1324341E-0740-4379-BEBF-59FBE9F90111}" sibTransId="{5488A2FE-D749-4ABC-AA93-CA6356BE1B03}"/>
    <dgm:cxn modelId="{D8046346-D397-4403-AFE6-90681569EB06}" type="presOf" srcId="{46765774-B319-4722-B6EA-1610598BAC99}" destId="{2FC46A58-AA89-41FF-81FC-E4C3F621CA4E}" srcOrd="0" destOrd="1" presId="urn:microsoft.com/office/officeart/2005/8/layout/hList1"/>
    <dgm:cxn modelId="{1BC3F548-84D5-410B-8C1E-99E94EA6D0B1}" type="presOf" srcId="{0317F226-BF0D-418C-AE87-5C5648538D69}" destId="{2FC46A58-AA89-41FF-81FC-E4C3F621CA4E}" srcOrd="0" destOrd="0" presId="urn:microsoft.com/office/officeart/2005/8/layout/hList1"/>
    <dgm:cxn modelId="{5F5FE155-B384-4175-BCEB-2328E1515E4A}" type="presOf" srcId="{CA2F9C51-AEC0-4B48-9319-2104DF228E3A}" destId="{C2AB1A28-5E6C-4E55-A3F7-C8FCCE6CB0D5}" srcOrd="0" destOrd="1" presId="urn:microsoft.com/office/officeart/2005/8/layout/hList1"/>
    <dgm:cxn modelId="{4D5ED66E-1DCD-42DC-BF49-9394E17E5718}" srcId="{7EE0F136-ED0C-4430-8B94-6A8FFF994978}" destId="{7B5C0A3B-B4A6-4FA0-929B-160AE79FAD2C}" srcOrd="0" destOrd="0" parTransId="{F1E88394-1EC2-440A-990A-1698DB3F6F46}" sibTransId="{46A7526E-1807-41FE-8505-B76546BE9E0C}"/>
    <dgm:cxn modelId="{30C75074-2CF5-4C5B-B26F-AAA016F189EA}" type="presOf" srcId="{E5759A70-0A8A-4253-A499-E4E13A13942E}" destId="{2FC46A58-AA89-41FF-81FC-E4C3F621CA4E}" srcOrd="0" destOrd="2" presId="urn:microsoft.com/office/officeart/2005/8/layout/hList1"/>
    <dgm:cxn modelId="{90D76381-BD6C-4519-98A9-92D71CFC715C}" srcId="{C609FB96-2609-45C0-B6BE-4C8F7CB219EC}" destId="{46765774-B319-4722-B6EA-1610598BAC99}" srcOrd="1" destOrd="0" parTransId="{21E16003-ED9F-499B-B986-2432BDCA07EA}" sibTransId="{DC27E2EF-099D-4228-9574-594D13B9C673}"/>
    <dgm:cxn modelId="{17CD1A8D-556C-4B3E-B5D9-1026E32D2FAB}" srcId="{7EE0F136-ED0C-4430-8B94-6A8FFF994978}" destId="{CA2F9C51-AEC0-4B48-9319-2104DF228E3A}" srcOrd="1" destOrd="0" parTransId="{2E498DAB-3183-46DC-B45F-7D07544B644C}" sibTransId="{F048AF90-25C9-4CB8-A133-6B2459DAF2E4}"/>
    <dgm:cxn modelId="{00AA2BA1-ACB2-48D9-8BF7-C9A79B59FFD8}" srcId="{186F1BDC-BC43-44D2-85A3-037989449AD8}" destId="{C609FB96-2609-45C0-B6BE-4C8F7CB219EC}" srcOrd="0" destOrd="0" parTransId="{5B0E8044-4D69-4F7F-9328-41A7B7C859CB}" sibTransId="{658F6ECE-C904-4673-8C7E-CB84DFA5716C}"/>
    <dgm:cxn modelId="{E8E0D3A1-66F6-4B5E-B8C1-F3C4A82AADE6}" type="presOf" srcId="{7EE0F136-ED0C-4430-8B94-6A8FFF994978}" destId="{A66E12E5-E6F7-4A9D-B657-CB7597721B09}" srcOrd="0" destOrd="0" presId="urn:microsoft.com/office/officeart/2005/8/layout/hList1"/>
    <dgm:cxn modelId="{AE7E21B1-B4AB-4FF9-A902-887D3EF7CCFD}" type="presOf" srcId="{7B5C0A3B-B4A6-4FA0-929B-160AE79FAD2C}" destId="{C2AB1A28-5E6C-4E55-A3F7-C8FCCE6CB0D5}" srcOrd="0" destOrd="0" presId="urn:microsoft.com/office/officeart/2005/8/layout/hList1"/>
    <dgm:cxn modelId="{566837DE-E892-4397-8952-AE093A877D94}" srcId="{C609FB96-2609-45C0-B6BE-4C8F7CB219EC}" destId="{E5759A70-0A8A-4253-A499-E4E13A13942E}" srcOrd="2" destOrd="0" parTransId="{2AF51699-CD8E-4AD1-B6F1-478B7BA9E6FC}" sibTransId="{D3D5114A-9FEB-47E5-AB9D-3C58FC25C9C2}"/>
    <dgm:cxn modelId="{B4F2E0EB-99F7-47B2-B363-DFA581BA783C}" type="presOf" srcId="{C609FB96-2609-45C0-B6BE-4C8F7CB219EC}" destId="{5D785C40-85EA-4120-B6F7-114822E5A7B1}" srcOrd="0" destOrd="0" presId="urn:microsoft.com/office/officeart/2005/8/layout/hList1"/>
    <dgm:cxn modelId="{245544FE-993D-4BE3-A412-6754CE2E6364}" type="presOf" srcId="{186F1BDC-BC43-44D2-85A3-037989449AD8}" destId="{70814914-27D0-4631-9481-FBC92E9D7CA3}" srcOrd="0" destOrd="0" presId="urn:microsoft.com/office/officeart/2005/8/layout/hList1"/>
    <dgm:cxn modelId="{C166F0A7-F745-4A21-9F3C-2DFCF753678F}" type="presParOf" srcId="{70814914-27D0-4631-9481-FBC92E9D7CA3}" destId="{4A8B0861-55EF-4B9A-8B92-ECD9C9A34CEA}" srcOrd="0" destOrd="0" presId="urn:microsoft.com/office/officeart/2005/8/layout/hList1"/>
    <dgm:cxn modelId="{11348078-934A-4596-AF94-2059251D1B5D}" type="presParOf" srcId="{4A8B0861-55EF-4B9A-8B92-ECD9C9A34CEA}" destId="{5D785C40-85EA-4120-B6F7-114822E5A7B1}" srcOrd="0" destOrd="0" presId="urn:microsoft.com/office/officeart/2005/8/layout/hList1"/>
    <dgm:cxn modelId="{1D839DC5-33C0-48CB-9940-23F8AEA6D68A}" type="presParOf" srcId="{4A8B0861-55EF-4B9A-8B92-ECD9C9A34CEA}" destId="{2FC46A58-AA89-41FF-81FC-E4C3F621CA4E}" srcOrd="1" destOrd="0" presId="urn:microsoft.com/office/officeart/2005/8/layout/hList1"/>
    <dgm:cxn modelId="{0B42F8A9-E38B-4D5B-8FDB-9136C98DD93A}" type="presParOf" srcId="{70814914-27D0-4631-9481-FBC92E9D7CA3}" destId="{0901280D-8331-4AFC-9D9A-E8699E114A5C}" srcOrd="1" destOrd="0" presId="urn:microsoft.com/office/officeart/2005/8/layout/hList1"/>
    <dgm:cxn modelId="{D6819AA1-C9D5-4F8E-8DCC-836954DD87BD}" type="presParOf" srcId="{70814914-27D0-4631-9481-FBC92E9D7CA3}" destId="{18C31E07-015E-4450-BC93-E78B98AEC0D3}" srcOrd="2" destOrd="0" presId="urn:microsoft.com/office/officeart/2005/8/layout/hList1"/>
    <dgm:cxn modelId="{BAF13072-A055-4103-B27F-9BE5F93322B2}" type="presParOf" srcId="{18C31E07-015E-4450-BC93-E78B98AEC0D3}" destId="{A66E12E5-E6F7-4A9D-B657-CB7597721B09}" srcOrd="0" destOrd="0" presId="urn:microsoft.com/office/officeart/2005/8/layout/hList1"/>
    <dgm:cxn modelId="{00C3E289-B114-4AEA-949D-CE2D57D52DCA}" type="presParOf" srcId="{18C31E07-015E-4450-BC93-E78B98AEC0D3}" destId="{C2AB1A28-5E6C-4E55-A3F7-C8FCCE6CB0D5}"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E52D8CC-DCCB-4182-AD18-4C9DDAF12015}"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96F7B9D4-3CC5-47FD-A51C-5A11274FE74D}">
      <dgm:prSet/>
      <dgm:spPr/>
      <dgm:t>
        <a:bodyPr/>
        <a:lstStyle/>
        <a:p>
          <a:pPr>
            <a:lnSpc>
              <a:spcPct val="100000"/>
            </a:lnSpc>
          </a:pPr>
          <a:r>
            <a:rPr lang="en-US"/>
            <a:t>Device mismatch</a:t>
          </a:r>
        </a:p>
      </dgm:t>
    </dgm:pt>
    <dgm:pt modelId="{5195602A-0170-4504-AF7E-D94BB1D8F7B2}" type="parTrans" cxnId="{85411E3F-3684-4A1A-9366-A7B53F737039}">
      <dgm:prSet/>
      <dgm:spPr/>
      <dgm:t>
        <a:bodyPr/>
        <a:lstStyle/>
        <a:p>
          <a:endParaRPr lang="en-US"/>
        </a:p>
      </dgm:t>
    </dgm:pt>
    <dgm:pt modelId="{67B68C79-E70D-4FBB-AAF7-9A4FE0EFE1E1}" type="sibTrans" cxnId="{85411E3F-3684-4A1A-9366-A7B53F737039}">
      <dgm:prSet/>
      <dgm:spPr/>
      <dgm:t>
        <a:bodyPr/>
        <a:lstStyle/>
        <a:p>
          <a:endParaRPr lang="en-US"/>
        </a:p>
      </dgm:t>
    </dgm:pt>
    <dgm:pt modelId="{54303807-FFF3-425A-8D9B-1F11FB8CF74A}">
      <dgm:prSet/>
      <dgm:spPr/>
      <dgm:t>
        <a:bodyPr/>
        <a:lstStyle/>
        <a:p>
          <a:pPr>
            <a:lnSpc>
              <a:spcPct val="100000"/>
            </a:lnSpc>
          </a:pPr>
          <a:r>
            <a:rPr lang="en-US"/>
            <a:t>Lack of buy-in </a:t>
          </a:r>
        </a:p>
      </dgm:t>
    </dgm:pt>
    <dgm:pt modelId="{3A2FABC7-1695-45FE-96E8-3231E3D39281}" type="parTrans" cxnId="{A45A8791-31EF-47A8-A718-E94A27EFA11A}">
      <dgm:prSet/>
      <dgm:spPr/>
      <dgm:t>
        <a:bodyPr/>
        <a:lstStyle/>
        <a:p>
          <a:endParaRPr lang="en-US"/>
        </a:p>
      </dgm:t>
    </dgm:pt>
    <dgm:pt modelId="{ED47261C-D748-4E6C-9A9F-1CF2FB84F65A}" type="sibTrans" cxnId="{A45A8791-31EF-47A8-A718-E94A27EFA11A}">
      <dgm:prSet/>
      <dgm:spPr/>
      <dgm:t>
        <a:bodyPr/>
        <a:lstStyle/>
        <a:p>
          <a:endParaRPr lang="en-US"/>
        </a:p>
      </dgm:t>
    </dgm:pt>
    <dgm:pt modelId="{066C01A5-57C6-4972-98CC-79AF46717094}">
      <dgm:prSet/>
      <dgm:spPr/>
      <dgm:t>
        <a:bodyPr/>
        <a:lstStyle/>
        <a:p>
          <a:pPr>
            <a:lnSpc>
              <a:spcPct val="100000"/>
            </a:lnSpc>
          </a:pPr>
          <a:r>
            <a:rPr lang="en-US"/>
            <a:t>Roles are unclear</a:t>
          </a:r>
        </a:p>
      </dgm:t>
    </dgm:pt>
    <dgm:pt modelId="{DC64BD02-1ADC-4AB5-9B77-8D26B7B910D3}" type="parTrans" cxnId="{3E0414D1-9877-4F57-842B-7DA5BC0DE972}">
      <dgm:prSet/>
      <dgm:spPr/>
      <dgm:t>
        <a:bodyPr/>
        <a:lstStyle/>
        <a:p>
          <a:endParaRPr lang="en-US"/>
        </a:p>
      </dgm:t>
    </dgm:pt>
    <dgm:pt modelId="{1B3DA98C-5A86-474C-BACE-2F005B315ABA}" type="sibTrans" cxnId="{3E0414D1-9877-4F57-842B-7DA5BC0DE972}">
      <dgm:prSet/>
      <dgm:spPr/>
      <dgm:t>
        <a:bodyPr/>
        <a:lstStyle/>
        <a:p>
          <a:endParaRPr lang="en-US"/>
        </a:p>
      </dgm:t>
    </dgm:pt>
    <dgm:pt modelId="{BF0F3047-5986-4404-99D2-52D1CEC0C2D8}">
      <dgm:prSet/>
      <dgm:spPr/>
      <dgm:t>
        <a:bodyPr/>
        <a:lstStyle/>
        <a:p>
          <a:pPr>
            <a:lnSpc>
              <a:spcPct val="100000"/>
            </a:lnSpc>
          </a:pPr>
          <a:r>
            <a:rPr lang="en-US"/>
            <a:t>Funding</a:t>
          </a:r>
        </a:p>
      </dgm:t>
    </dgm:pt>
    <dgm:pt modelId="{7C8589D5-D022-4189-ADC5-AB0111C7AA44}" type="parTrans" cxnId="{3A51D06E-0A22-4CC4-90F6-D6C2CA76583C}">
      <dgm:prSet/>
      <dgm:spPr/>
      <dgm:t>
        <a:bodyPr/>
        <a:lstStyle/>
        <a:p>
          <a:endParaRPr lang="en-US"/>
        </a:p>
      </dgm:t>
    </dgm:pt>
    <dgm:pt modelId="{45E6C22F-D454-47E1-BDB8-527DBD037BD2}" type="sibTrans" cxnId="{3A51D06E-0A22-4CC4-90F6-D6C2CA76583C}">
      <dgm:prSet/>
      <dgm:spPr/>
      <dgm:t>
        <a:bodyPr/>
        <a:lstStyle/>
        <a:p>
          <a:endParaRPr lang="en-US"/>
        </a:p>
      </dgm:t>
    </dgm:pt>
    <dgm:pt modelId="{2DEFD03C-1C8F-435F-B2FA-214DD7C24BF1}">
      <dgm:prSet/>
      <dgm:spPr/>
      <dgm:t>
        <a:bodyPr/>
        <a:lstStyle/>
        <a:p>
          <a:pPr>
            <a:lnSpc>
              <a:spcPct val="100000"/>
            </a:lnSpc>
          </a:pPr>
          <a:r>
            <a:rPr lang="en-US"/>
            <a:t>Team is underprepared/lacks training</a:t>
          </a:r>
        </a:p>
      </dgm:t>
    </dgm:pt>
    <dgm:pt modelId="{B76BCA40-93E9-4B15-A4F0-A76BDB9B2655}" type="parTrans" cxnId="{CEAC9921-7F5A-4230-99A9-80DEB85C926F}">
      <dgm:prSet/>
      <dgm:spPr/>
      <dgm:t>
        <a:bodyPr/>
        <a:lstStyle/>
        <a:p>
          <a:endParaRPr lang="en-US"/>
        </a:p>
      </dgm:t>
    </dgm:pt>
    <dgm:pt modelId="{C6764495-2F34-4C0C-8E79-6DB4712D2DFA}" type="sibTrans" cxnId="{CEAC9921-7F5A-4230-99A9-80DEB85C926F}">
      <dgm:prSet/>
      <dgm:spPr/>
      <dgm:t>
        <a:bodyPr/>
        <a:lstStyle/>
        <a:p>
          <a:endParaRPr lang="en-US"/>
        </a:p>
      </dgm:t>
    </dgm:pt>
    <dgm:pt modelId="{D3C97DDA-F7FE-41E8-9636-EBF1B4A409E0}">
      <dgm:prSet/>
      <dgm:spPr/>
      <dgm:t>
        <a:bodyPr/>
        <a:lstStyle/>
        <a:p>
          <a:pPr>
            <a:lnSpc>
              <a:spcPct val="100000"/>
            </a:lnSpc>
          </a:pPr>
          <a:r>
            <a:rPr lang="en-US"/>
            <a:t>Maintenance</a:t>
          </a:r>
        </a:p>
      </dgm:t>
    </dgm:pt>
    <dgm:pt modelId="{91186C8F-5D9E-4263-8F71-DC8B55364A5A}" type="parTrans" cxnId="{937B5612-6C5D-4714-8264-E348363F0A62}">
      <dgm:prSet/>
      <dgm:spPr/>
      <dgm:t>
        <a:bodyPr/>
        <a:lstStyle/>
        <a:p>
          <a:endParaRPr lang="en-US"/>
        </a:p>
      </dgm:t>
    </dgm:pt>
    <dgm:pt modelId="{E98C5DBF-F02C-42CB-8432-93CA6F3D1355}" type="sibTrans" cxnId="{937B5612-6C5D-4714-8264-E348363F0A62}">
      <dgm:prSet/>
      <dgm:spPr/>
      <dgm:t>
        <a:bodyPr/>
        <a:lstStyle/>
        <a:p>
          <a:endParaRPr lang="en-US"/>
        </a:p>
      </dgm:t>
    </dgm:pt>
    <dgm:pt modelId="{E428301C-4B93-4E63-A58D-B35B9BAB0695}">
      <dgm:prSet/>
      <dgm:spPr/>
      <dgm:t>
        <a:bodyPr/>
        <a:lstStyle/>
        <a:p>
          <a:pPr>
            <a:lnSpc>
              <a:spcPct val="100000"/>
            </a:lnSpc>
          </a:pPr>
          <a:r>
            <a:rPr lang="en-US"/>
            <a:t>Understudied</a:t>
          </a:r>
        </a:p>
      </dgm:t>
    </dgm:pt>
    <dgm:pt modelId="{A65A26FE-A61F-4D0B-B94C-E999C47D06E6}" type="parTrans" cxnId="{CA3D90B0-204C-4D65-BD28-C7011A2FBFB2}">
      <dgm:prSet/>
      <dgm:spPr/>
      <dgm:t>
        <a:bodyPr/>
        <a:lstStyle/>
        <a:p>
          <a:endParaRPr lang="en-US"/>
        </a:p>
      </dgm:t>
    </dgm:pt>
    <dgm:pt modelId="{1506238D-B23F-4053-9F97-63ABF204A2A1}" type="sibTrans" cxnId="{CA3D90B0-204C-4D65-BD28-C7011A2FBFB2}">
      <dgm:prSet/>
      <dgm:spPr/>
      <dgm:t>
        <a:bodyPr/>
        <a:lstStyle/>
        <a:p>
          <a:endParaRPr lang="en-US"/>
        </a:p>
      </dgm:t>
    </dgm:pt>
    <dgm:pt modelId="{E144412A-70B1-4F42-BDDA-4ED0056DB7B1}" type="pres">
      <dgm:prSet presAssocID="{BE52D8CC-DCCB-4182-AD18-4C9DDAF12015}" presName="root" presStyleCnt="0">
        <dgm:presLayoutVars>
          <dgm:dir/>
          <dgm:resizeHandles val="exact"/>
        </dgm:presLayoutVars>
      </dgm:prSet>
      <dgm:spPr/>
    </dgm:pt>
    <dgm:pt modelId="{592DD014-15A9-4635-B46B-1C55936EC947}" type="pres">
      <dgm:prSet presAssocID="{96F7B9D4-3CC5-47FD-A51C-5A11274FE74D}" presName="compNode" presStyleCnt="0"/>
      <dgm:spPr/>
    </dgm:pt>
    <dgm:pt modelId="{BED63CC8-317C-4B0E-B4EB-767A97DD604B}" type="pres">
      <dgm:prSet presAssocID="{96F7B9D4-3CC5-47FD-A51C-5A11274FE74D}" presName="bgRect" presStyleLbl="bgShp" presStyleIdx="0" presStyleCnt="7" custLinFactNeighborX="431" custLinFactNeighborY="-72"/>
      <dgm:spPr/>
    </dgm:pt>
    <dgm:pt modelId="{0C18DFEA-C698-4EC7-8717-9F4D58E21086}" type="pres">
      <dgm:prSet presAssocID="{96F7B9D4-3CC5-47FD-A51C-5A11274FE74D}"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Smart Phone"/>
        </a:ext>
      </dgm:extLst>
    </dgm:pt>
    <dgm:pt modelId="{67EC7865-CA6C-4AF5-91DD-A6564D852661}" type="pres">
      <dgm:prSet presAssocID="{96F7B9D4-3CC5-47FD-A51C-5A11274FE74D}" presName="spaceRect" presStyleCnt="0"/>
      <dgm:spPr/>
    </dgm:pt>
    <dgm:pt modelId="{BB6D8161-FBB0-40DA-9EC8-F4A5BA9A5908}" type="pres">
      <dgm:prSet presAssocID="{96F7B9D4-3CC5-47FD-A51C-5A11274FE74D}" presName="parTx" presStyleLbl="revTx" presStyleIdx="0" presStyleCnt="7">
        <dgm:presLayoutVars>
          <dgm:chMax val="0"/>
          <dgm:chPref val="0"/>
        </dgm:presLayoutVars>
      </dgm:prSet>
      <dgm:spPr/>
    </dgm:pt>
    <dgm:pt modelId="{38B32695-4F83-447B-8FE8-582958E0FC78}" type="pres">
      <dgm:prSet presAssocID="{67B68C79-E70D-4FBB-AAF7-9A4FE0EFE1E1}" presName="sibTrans" presStyleCnt="0"/>
      <dgm:spPr/>
    </dgm:pt>
    <dgm:pt modelId="{9C834D40-251C-4659-B4A1-DA610C25E6CE}" type="pres">
      <dgm:prSet presAssocID="{54303807-FFF3-425A-8D9B-1F11FB8CF74A}" presName="compNode" presStyleCnt="0"/>
      <dgm:spPr/>
    </dgm:pt>
    <dgm:pt modelId="{C1A4BEA8-585B-427D-B125-DA41C8CD8971}" type="pres">
      <dgm:prSet presAssocID="{54303807-FFF3-425A-8D9B-1F11FB8CF74A}" presName="bgRect" presStyleLbl="bgShp" presStyleIdx="1" presStyleCnt="7"/>
      <dgm:spPr/>
    </dgm:pt>
    <dgm:pt modelId="{748C7FA6-430A-4121-81E1-23C90413BA92}" type="pres">
      <dgm:prSet presAssocID="{54303807-FFF3-425A-8D9B-1F11FB8CF74A}"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Kiosk"/>
        </a:ext>
      </dgm:extLst>
    </dgm:pt>
    <dgm:pt modelId="{08853DEB-827F-4EF6-9586-40CDD027FF03}" type="pres">
      <dgm:prSet presAssocID="{54303807-FFF3-425A-8D9B-1F11FB8CF74A}" presName="spaceRect" presStyleCnt="0"/>
      <dgm:spPr/>
    </dgm:pt>
    <dgm:pt modelId="{C3D480CB-A71A-4A84-BE19-AD3781F409B8}" type="pres">
      <dgm:prSet presAssocID="{54303807-FFF3-425A-8D9B-1F11FB8CF74A}" presName="parTx" presStyleLbl="revTx" presStyleIdx="1" presStyleCnt="7">
        <dgm:presLayoutVars>
          <dgm:chMax val="0"/>
          <dgm:chPref val="0"/>
        </dgm:presLayoutVars>
      </dgm:prSet>
      <dgm:spPr/>
    </dgm:pt>
    <dgm:pt modelId="{BAC79CF5-83E9-4B54-B918-65BD0BE1291A}" type="pres">
      <dgm:prSet presAssocID="{ED47261C-D748-4E6C-9A9F-1CF2FB84F65A}" presName="sibTrans" presStyleCnt="0"/>
      <dgm:spPr/>
    </dgm:pt>
    <dgm:pt modelId="{6ADF1248-B6D0-4E72-8BDC-BDDC5728A445}" type="pres">
      <dgm:prSet presAssocID="{066C01A5-57C6-4972-98CC-79AF46717094}" presName="compNode" presStyleCnt="0"/>
      <dgm:spPr/>
    </dgm:pt>
    <dgm:pt modelId="{84A37C37-6E34-47F8-A970-391FE0D5C7E2}" type="pres">
      <dgm:prSet presAssocID="{066C01A5-57C6-4972-98CC-79AF46717094}" presName="bgRect" presStyleLbl="bgShp" presStyleIdx="2" presStyleCnt="7"/>
      <dgm:spPr/>
    </dgm:pt>
    <dgm:pt modelId="{60DD1276-07E9-4E8F-8AD7-EF047587EAAB}" type="pres">
      <dgm:prSet presAssocID="{066C01A5-57C6-4972-98CC-79AF46717094}"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User"/>
        </a:ext>
      </dgm:extLst>
    </dgm:pt>
    <dgm:pt modelId="{1ACD402E-4396-4BDA-97F5-A2C5B012C9CD}" type="pres">
      <dgm:prSet presAssocID="{066C01A5-57C6-4972-98CC-79AF46717094}" presName="spaceRect" presStyleCnt="0"/>
      <dgm:spPr/>
    </dgm:pt>
    <dgm:pt modelId="{E5DC9675-D9F6-4EAB-A6E6-2D04D34F8EAD}" type="pres">
      <dgm:prSet presAssocID="{066C01A5-57C6-4972-98CC-79AF46717094}" presName="parTx" presStyleLbl="revTx" presStyleIdx="2" presStyleCnt="7">
        <dgm:presLayoutVars>
          <dgm:chMax val="0"/>
          <dgm:chPref val="0"/>
        </dgm:presLayoutVars>
      </dgm:prSet>
      <dgm:spPr/>
    </dgm:pt>
    <dgm:pt modelId="{4C422A14-092D-419C-B717-BB1DAE6A69D7}" type="pres">
      <dgm:prSet presAssocID="{1B3DA98C-5A86-474C-BACE-2F005B315ABA}" presName="sibTrans" presStyleCnt="0"/>
      <dgm:spPr/>
    </dgm:pt>
    <dgm:pt modelId="{4E69E95B-A623-4B83-99BA-F89DEA9B389B}" type="pres">
      <dgm:prSet presAssocID="{BF0F3047-5986-4404-99D2-52D1CEC0C2D8}" presName="compNode" presStyleCnt="0"/>
      <dgm:spPr/>
    </dgm:pt>
    <dgm:pt modelId="{1B67CB5E-6E9A-47C3-AECE-859C34D9B8A1}" type="pres">
      <dgm:prSet presAssocID="{BF0F3047-5986-4404-99D2-52D1CEC0C2D8}" presName="bgRect" presStyleLbl="bgShp" presStyleIdx="3" presStyleCnt="7"/>
      <dgm:spPr/>
    </dgm:pt>
    <dgm:pt modelId="{C9571E18-D7FF-4B0D-BDFB-874C459D62DD}" type="pres">
      <dgm:prSet presAssocID="{BF0F3047-5986-4404-99D2-52D1CEC0C2D8}"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Money"/>
        </a:ext>
      </dgm:extLst>
    </dgm:pt>
    <dgm:pt modelId="{8CA915B6-0AC9-41E3-81B7-DCF4E59CF1D0}" type="pres">
      <dgm:prSet presAssocID="{BF0F3047-5986-4404-99D2-52D1CEC0C2D8}" presName="spaceRect" presStyleCnt="0"/>
      <dgm:spPr/>
    </dgm:pt>
    <dgm:pt modelId="{7E62CBD1-3EFA-4C79-873D-D782BCD99309}" type="pres">
      <dgm:prSet presAssocID="{BF0F3047-5986-4404-99D2-52D1CEC0C2D8}" presName="parTx" presStyleLbl="revTx" presStyleIdx="3" presStyleCnt="7">
        <dgm:presLayoutVars>
          <dgm:chMax val="0"/>
          <dgm:chPref val="0"/>
        </dgm:presLayoutVars>
      </dgm:prSet>
      <dgm:spPr/>
    </dgm:pt>
    <dgm:pt modelId="{9D092C2C-20FD-4892-B5F8-9B6F6771970F}" type="pres">
      <dgm:prSet presAssocID="{45E6C22F-D454-47E1-BDB8-527DBD037BD2}" presName="sibTrans" presStyleCnt="0"/>
      <dgm:spPr/>
    </dgm:pt>
    <dgm:pt modelId="{4E153C7B-A219-40FB-ABE8-270F2EC9E736}" type="pres">
      <dgm:prSet presAssocID="{2DEFD03C-1C8F-435F-B2FA-214DD7C24BF1}" presName="compNode" presStyleCnt="0"/>
      <dgm:spPr/>
    </dgm:pt>
    <dgm:pt modelId="{2C9D175E-F3CA-405B-AA4C-E69629B914B5}" type="pres">
      <dgm:prSet presAssocID="{2DEFD03C-1C8F-435F-B2FA-214DD7C24BF1}" presName="bgRect" presStyleLbl="bgShp" presStyleIdx="4" presStyleCnt="7"/>
      <dgm:spPr/>
    </dgm:pt>
    <dgm:pt modelId="{81CB7F7B-B3E2-4299-8F25-788A84219D6C}" type="pres">
      <dgm:prSet presAssocID="{2DEFD03C-1C8F-435F-B2FA-214DD7C24BF1}"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Users"/>
        </a:ext>
      </dgm:extLst>
    </dgm:pt>
    <dgm:pt modelId="{BF64744A-6B06-420A-89D9-37276846C61D}" type="pres">
      <dgm:prSet presAssocID="{2DEFD03C-1C8F-435F-B2FA-214DD7C24BF1}" presName="spaceRect" presStyleCnt="0"/>
      <dgm:spPr/>
    </dgm:pt>
    <dgm:pt modelId="{3AE2ED81-441B-4B08-897C-DA762F26EBB7}" type="pres">
      <dgm:prSet presAssocID="{2DEFD03C-1C8F-435F-B2FA-214DD7C24BF1}" presName="parTx" presStyleLbl="revTx" presStyleIdx="4" presStyleCnt="7">
        <dgm:presLayoutVars>
          <dgm:chMax val="0"/>
          <dgm:chPref val="0"/>
        </dgm:presLayoutVars>
      </dgm:prSet>
      <dgm:spPr/>
    </dgm:pt>
    <dgm:pt modelId="{B04FF135-F916-4095-9DDB-BC4E180BB680}" type="pres">
      <dgm:prSet presAssocID="{C6764495-2F34-4C0C-8E79-6DB4712D2DFA}" presName="sibTrans" presStyleCnt="0"/>
      <dgm:spPr/>
    </dgm:pt>
    <dgm:pt modelId="{3941EAEB-CC7B-4135-85FD-519F90B49544}" type="pres">
      <dgm:prSet presAssocID="{D3C97DDA-F7FE-41E8-9636-EBF1B4A409E0}" presName="compNode" presStyleCnt="0"/>
      <dgm:spPr/>
    </dgm:pt>
    <dgm:pt modelId="{3905C921-CFA4-4DF2-A1FD-A7D2555948CC}" type="pres">
      <dgm:prSet presAssocID="{D3C97DDA-F7FE-41E8-9636-EBF1B4A409E0}" presName="bgRect" presStyleLbl="bgShp" presStyleIdx="5" presStyleCnt="7"/>
      <dgm:spPr/>
    </dgm:pt>
    <dgm:pt modelId="{DBDE149D-0A6F-4139-B747-D590ED1C70C2}" type="pres">
      <dgm:prSet presAssocID="{D3C97DDA-F7FE-41E8-9636-EBF1B4A409E0}"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Screwdriver"/>
        </a:ext>
      </dgm:extLst>
    </dgm:pt>
    <dgm:pt modelId="{BF7AF27C-00F9-4448-9A9B-943414EC51A1}" type="pres">
      <dgm:prSet presAssocID="{D3C97DDA-F7FE-41E8-9636-EBF1B4A409E0}" presName="spaceRect" presStyleCnt="0"/>
      <dgm:spPr/>
    </dgm:pt>
    <dgm:pt modelId="{D9A98D0E-96AD-4FFB-A2D0-CEE88888DD4B}" type="pres">
      <dgm:prSet presAssocID="{D3C97DDA-F7FE-41E8-9636-EBF1B4A409E0}" presName="parTx" presStyleLbl="revTx" presStyleIdx="5" presStyleCnt="7">
        <dgm:presLayoutVars>
          <dgm:chMax val="0"/>
          <dgm:chPref val="0"/>
        </dgm:presLayoutVars>
      </dgm:prSet>
      <dgm:spPr/>
    </dgm:pt>
    <dgm:pt modelId="{5BEB7084-1CA0-4E81-B67F-E73BFFF59108}" type="pres">
      <dgm:prSet presAssocID="{E98C5DBF-F02C-42CB-8432-93CA6F3D1355}" presName="sibTrans" presStyleCnt="0"/>
      <dgm:spPr/>
    </dgm:pt>
    <dgm:pt modelId="{E681B8F2-6BF5-4EEE-BA2F-C3F3B37D4E19}" type="pres">
      <dgm:prSet presAssocID="{E428301C-4B93-4E63-A58D-B35B9BAB0695}" presName="compNode" presStyleCnt="0"/>
      <dgm:spPr/>
    </dgm:pt>
    <dgm:pt modelId="{8ACC22F2-E966-4989-B55B-8982DF04356A}" type="pres">
      <dgm:prSet presAssocID="{E428301C-4B93-4E63-A58D-B35B9BAB0695}" presName="bgRect" presStyleLbl="bgShp" presStyleIdx="6" presStyleCnt="7"/>
      <dgm:spPr/>
    </dgm:pt>
    <dgm:pt modelId="{DB287970-B5B0-4868-BDCE-4F6DC96681FA}" type="pres">
      <dgm:prSet presAssocID="{E428301C-4B93-4E63-A58D-B35B9BAB0695}"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Mute Speaker"/>
        </a:ext>
      </dgm:extLst>
    </dgm:pt>
    <dgm:pt modelId="{2080F086-6F7E-4909-B53C-B444061A59B7}" type="pres">
      <dgm:prSet presAssocID="{E428301C-4B93-4E63-A58D-B35B9BAB0695}" presName="spaceRect" presStyleCnt="0"/>
      <dgm:spPr/>
    </dgm:pt>
    <dgm:pt modelId="{295C0CC3-A2C8-4BF7-8E1C-C74297CAFA14}" type="pres">
      <dgm:prSet presAssocID="{E428301C-4B93-4E63-A58D-B35B9BAB0695}" presName="parTx" presStyleLbl="revTx" presStyleIdx="6" presStyleCnt="7">
        <dgm:presLayoutVars>
          <dgm:chMax val="0"/>
          <dgm:chPref val="0"/>
        </dgm:presLayoutVars>
      </dgm:prSet>
      <dgm:spPr/>
    </dgm:pt>
  </dgm:ptLst>
  <dgm:cxnLst>
    <dgm:cxn modelId="{937B5612-6C5D-4714-8264-E348363F0A62}" srcId="{BE52D8CC-DCCB-4182-AD18-4C9DDAF12015}" destId="{D3C97DDA-F7FE-41E8-9636-EBF1B4A409E0}" srcOrd="5" destOrd="0" parTransId="{91186C8F-5D9E-4263-8F71-DC8B55364A5A}" sibTransId="{E98C5DBF-F02C-42CB-8432-93CA6F3D1355}"/>
    <dgm:cxn modelId="{F90BFF1B-3816-42E8-A4D2-BEC55D5D0F4C}" type="presOf" srcId="{2DEFD03C-1C8F-435F-B2FA-214DD7C24BF1}" destId="{3AE2ED81-441B-4B08-897C-DA762F26EBB7}" srcOrd="0" destOrd="0" presId="urn:microsoft.com/office/officeart/2018/2/layout/IconVerticalSolidList"/>
    <dgm:cxn modelId="{CEAC9921-7F5A-4230-99A9-80DEB85C926F}" srcId="{BE52D8CC-DCCB-4182-AD18-4C9DDAF12015}" destId="{2DEFD03C-1C8F-435F-B2FA-214DD7C24BF1}" srcOrd="4" destOrd="0" parTransId="{B76BCA40-93E9-4B15-A4F0-A76BDB9B2655}" sibTransId="{C6764495-2F34-4C0C-8E79-6DB4712D2DFA}"/>
    <dgm:cxn modelId="{1B4AD33C-A252-4B96-9B9B-2A0302C68EC2}" type="presOf" srcId="{96F7B9D4-3CC5-47FD-A51C-5A11274FE74D}" destId="{BB6D8161-FBB0-40DA-9EC8-F4A5BA9A5908}" srcOrd="0" destOrd="0" presId="urn:microsoft.com/office/officeart/2018/2/layout/IconVerticalSolidList"/>
    <dgm:cxn modelId="{85411E3F-3684-4A1A-9366-A7B53F737039}" srcId="{BE52D8CC-DCCB-4182-AD18-4C9DDAF12015}" destId="{96F7B9D4-3CC5-47FD-A51C-5A11274FE74D}" srcOrd="0" destOrd="0" parTransId="{5195602A-0170-4504-AF7E-D94BB1D8F7B2}" sibTransId="{67B68C79-E70D-4FBB-AAF7-9A4FE0EFE1E1}"/>
    <dgm:cxn modelId="{09672D43-A084-4364-86C0-A865B97838D7}" type="presOf" srcId="{E428301C-4B93-4E63-A58D-B35B9BAB0695}" destId="{295C0CC3-A2C8-4BF7-8E1C-C74297CAFA14}" srcOrd="0" destOrd="0" presId="urn:microsoft.com/office/officeart/2018/2/layout/IconVerticalSolidList"/>
    <dgm:cxn modelId="{B37E3D5B-740B-4794-9E8C-FF4857AFD957}" type="presOf" srcId="{BF0F3047-5986-4404-99D2-52D1CEC0C2D8}" destId="{7E62CBD1-3EFA-4C79-873D-D782BCD99309}" srcOrd="0" destOrd="0" presId="urn:microsoft.com/office/officeart/2018/2/layout/IconVerticalSolidList"/>
    <dgm:cxn modelId="{3A51D06E-0A22-4CC4-90F6-D6C2CA76583C}" srcId="{BE52D8CC-DCCB-4182-AD18-4C9DDAF12015}" destId="{BF0F3047-5986-4404-99D2-52D1CEC0C2D8}" srcOrd="3" destOrd="0" parTransId="{7C8589D5-D022-4189-ADC5-AB0111C7AA44}" sibTransId="{45E6C22F-D454-47E1-BDB8-527DBD037BD2}"/>
    <dgm:cxn modelId="{2078587B-C9E8-4025-87BD-40BE1D40EC00}" type="presOf" srcId="{066C01A5-57C6-4972-98CC-79AF46717094}" destId="{E5DC9675-D9F6-4EAB-A6E6-2D04D34F8EAD}" srcOrd="0" destOrd="0" presId="urn:microsoft.com/office/officeart/2018/2/layout/IconVerticalSolidList"/>
    <dgm:cxn modelId="{A45A8791-31EF-47A8-A718-E94A27EFA11A}" srcId="{BE52D8CC-DCCB-4182-AD18-4C9DDAF12015}" destId="{54303807-FFF3-425A-8D9B-1F11FB8CF74A}" srcOrd="1" destOrd="0" parTransId="{3A2FABC7-1695-45FE-96E8-3231E3D39281}" sibTransId="{ED47261C-D748-4E6C-9A9F-1CF2FB84F65A}"/>
    <dgm:cxn modelId="{CA3D90B0-204C-4D65-BD28-C7011A2FBFB2}" srcId="{BE52D8CC-DCCB-4182-AD18-4C9DDAF12015}" destId="{E428301C-4B93-4E63-A58D-B35B9BAB0695}" srcOrd="6" destOrd="0" parTransId="{A65A26FE-A61F-4D0B-B94C-E999C47D06E6}" sibTransId="{1506238D-B23F-4053-9F97-63ABF204A2A1}"/>
    <dgm:cxn modelId="{3E0414D1-9877-4F57-842B-7DA5BC0DE972}" srcId="{BE52D8CC-DCCB-4182-AD18-4C9DDAF12015}" destId="{066C01A5-57C6-4972-98CC-79AF46717094}" srcOrd="2" destOrd="0" parTransId="{DC64BD02-1ADC-4AB5-9B77-8D26B7B910D3}" sibTransId="{1B3DA98C-5A86-474C-BACE-2F005B315ABA}"/>
    <dgm:cxn modelId="{E136D6D3-A9B3-46DC-B83F-D2070160DFC8}" type="presOf" srcId="{D3C97DDA-F7FE-41E8-9636-EBF1B4A409E0}" destId="{D9A98D0E-96AD-4FFB-A2D0-CEE88888DD4B}" srcOrd="0" destOrd="0" presId="urn:microsoft.com/office/officeart/2018/2/layout/IconVerticalSolidList"/>
    <dgm:cxn modelId="{906558F5-59E5-4110-AC1E-892F4DAEBF44}" type="presOf" srcId="{BE52D8CC-DCCB-4182-AD18-4C9DDAF12015}" destId="{E144412A-70B1-4F42-BDDA-4ED0056DB7B1}" srcOrd="0" destOrd="0" presId="urn:microsoft.com/office/officeart/2018/2/layout/IconVerticalSolidList"/>
    <dgm:cxn modelId="{4C15B5FC-65AC-400C-8F3B-7814655A57FB}" type="presOf" srcId="{54303807-FFF3-425A-8D9B-1F11FB8CF74A}" destId="{C3D480CB-A71A-4A84-BE19-AD3781F409B8}" srcOrd="0" destOrd="0" presId="urn:microsoft.com/office/officeart/2018/2/layout/IconVerticalSolidList"/>
    <dgm:cxn modelId="{C14F7399-DA8E-41DF-8739-FEB9227C29D6}" type="presParOf" srcId="{E144412A-70B1-4F42-BDDA-4ED0056DB7B1}" destId="{592DD014-15A9-4635-B46B-1C55936EC947}" srcOrd="0" destOrd="0" presId="urn:microsoft.com/office/officeart/2018/2/layout/IconVerticalSolidList"/>
    <dgm:cxn modelId="{315597E4-32ED-43BF-BF9D-9A1AD852D19C}" type="presParOf" srcId="{592DD014-15A9-4635-B46B-1C55936EC947}" destId="{BED63CC8-317C-4B0E-B4EB-767A97DD604B}" srcOrd="0" destOrd="0" presId="urn:microsoft.com/office/officeart/2018/2/layout/IconVerticalSolidList"/>
    <dgm:cxn modelId="{92F1DF3B-7CB8-4539-A587-8EC7B8D5BA7C}" type="presParOf" srcId="{592DD014-15A9-4635-B46B-1C55936EC947}" destId="{0C18DFEA-C698-4EC7-8717-9F4D58E21086}" srcOrd="1" destOrd="0" presId="urn:microsoft.com/office/officeart/2018/2/layout/IconVerticalSolidList"/>
    <dgm:cxn modelId="{870DF4EB-BB70-42F1-BDAE-FC88F2291F44}" type="presParOf" srcId="{592DD014-15A9-4635-B46B-1C55936EC947}" destId="{67EC7865-CA6C-4AF5-91DD-A6564D852661}" srcOrd="2" destOrd="0" presId="urn:microsoft.com/office/officeart/2018/2/layout/IconVerticalSolidList"/>
    <dgm:cxn modelId="{F44858E8-F73D-4F2E-817C-0FE37739F4B3}" type="presParOf" srcId="{592DD014-15A9-4635-B46B-1C55936EC947}" destId="{BB6D8161-FBB0-40DA-9EC8-F4A5BA9A5908}" srcOrd="3" destOrd="0" presId="urn:microsoft.com/office/officeart/2018/2/layout/IconVerticalSolidList"/>
    <dgm:cxn modelId="{460E6F8A-A9D9-4783-8AFB-B8DC08FF6EE3}" type="presParOf" srcId="{E144412A-70B1-4F42-BDDA-4ED0056DB7B1}" destId="{38B32695-4F83-447B-8FE8-582958E0FC78}" srcOrd="1" destOrd="0" presId="urn:microsoft.com/office/officeart/2018/2/layout/IconVerticalSolidList"/>
    <dgm:cxn modelId="{7CADB148-62E9-44C1-AD87-72DE6286E9E7}" type="presParOf" srcId="{E144412A-70B1-4F42-BDDA-4ED0056DB7B1}" destId="{9C834D40-251C-4659-B4A1-DA610C25E6CE}" srcOrd="2" destOrd="0" presId="urn:microsoft.com/office/officeart/2018/2/layout/IconVerticalSolidList"/>
    <dgm:cxn modelId="{D6FDEBEF-1708-451D-BF91-BCB3D1E923A6}" type="presParOf" srcId="{9C834D40-251C-4659-B4A1-DA610C25E6CE}" destId="{C1A4BEA8-585B-427D-B125-DA41C8CD8971}" srcOrd="0" destOrd="0" presId="urn:microsoft.com/office/officeart/2018/2/layout/IconVerticalSolidList"/>
    <dgm:cxn modelId="{373EA789-66A2-4DED-97DA-9E0243B9AAF8}" type="presParOf" srcId="{9C834D40-251C-4659-B4A1-DA610C25E6CE}" destId="{748C7FA6-430A-4121-81E1-23C90413BA92}" srcOrd="1" destOrd="0" presId="urn:microsoft.com/office/officeart/2018/2/layout/IconVerticalSolidList"/>
    <dgm:cxn modelId="{8AD41DBF-CB7E-4F5E-AB17-519AB0958C69}" type="presParOf" srcId="{9C834D40-251C-4659-B4A1-DA610C25E6CE}" destId="{08853DEB-827F-4EF6-9586-40CDD027FF03}" srcOrd="2" destOrd="0" presId="urn:microsoft.com/office/officeart/2018/2/layout/IconVerticalSolidList"/>
    <dgm:cxn modelId="{5B92E0A3-9FBC-4C7F-86BF-8FFD36D0EEE7}" type="presParOf" srcId="{9C834D40-251C-4659-B4A1-DA610C25E6CE}" destId="{C3D480CB-A71A-4A84-BE19-AD3781F409B8}" srcOrd="3" destOrd="0" presId="urn:microsoft.com/office/officeart/2018/2/layout/IconVerticalSolidList"/>
    <dgm:cxn modelId="{C5822BBE-1E34-48E3-A8CA-2CF8D9679293}" type="presParOf" srcId="{E144412A-70B1-4F42-BDDA-4ED0056DB7B1}" destId="{BAC79CF5-83E9-4B54-B918-65BD0BE1291A}" srcOrd="3" destOrd="0" presId="urn:microsoft.com/office/officeart/2018/2/layout/IconVerticalSolidList"/>
    <dgm:cxn modelId="{24FCB942-CA70-4F5E-8F65-F709D6FEE7F6}" type="presParOf" srcId="{E144412A-70B1-4F42-BDDA-4ED0056DB7B1}" destId="{6ADF1248-B6D0-4E72-8BDC-BDDC5728A445}" srcOrd="4" destOrd="0" presId="urn:microsoft.com/office/officeart/2018/2/layout/IconVerticalSolidList"/>
    <dgm:cxn modelId="{915F954D-DB51-4A32-9267-5B211799A82C}" type="presParOf" srcId="{6ADF1248-B6D0-4E72-8BDC-BDDC5728A445}" destId="{84A37C37-6E34-47F8-A970-391FE0D5C7E2}" srcOrd="0" destOrd="0" presId="urn:microsoft.com/office/officeart/2018/2/layout/IconVerticalSolidList"/>
    <dgm:cxn modelId="{1C035DAB-1B2F-41E2-8602-292565A2975D}" type="presParOf" srcId="{6ADF1248-B6D0-4E72-8BDC-BDDC5728A445}" destId="{60DD1276-07E9-4E8F-8AD7-EF047587EAAB}" srcOrd="1" destOrd="0" presId="urn:microsoft.com/office/officeart/2018/2/layout/IconVerticalSolidList"/>
    <dgm:cxn modelId="{EB63CB09-F77B-407C-A0B4-3B0C694FED3D}" type="presParOf" srcId="{6ADF1248-B6D0-4E72-8BDC-BDDC5728A445}" destId="{1ACD402E-4396-4BDA-97F5-A2C5B012C9CD}" srcOrd="2" destOrd="0" presId="urn:microsoft.com/office/officeart/2018/2/layout/IconVerticalSolidList"/>
    <dgm:cxn modelId="{BB812FED-99B4-4EDF-9879-B83CA6255345}" type="presParOf" srcId="{6ADF1248-B6D0-4E72-8BDC-BDDC5728A445}" destId="{E5DC9675-D9F6-4EAB-A6E6-2D04D34F8EAD}" srcOrd="3" destOrd="0" presId="urn:microsoft.com/office/officeart/2018/2/layout/IconVerticalSolidList"/>
    <dgm:cxn modelId="{008733BC-8C10-447B-840A-EFB8137B7184}" type="presParOf" srcId="{E144412A-70B1-4F42-BDDA-4ED0056DB7B1}" destId="{4C422A14-092D-419C-B717-BB1DAE6A69D7}" srcOrd="5" destOrd="0" presId="urn:microsoft.com/office/officeart/2018/2/layout/IconVerticalSolidList"/>
    <dgm:cxn modelId="{D18D8D9A-C6E8-45C9-9EBA-D6D7CB89BEC5}" type="presParOf" srcId="{E144412A-70B1-4F42-BDDA-4ED0056DB7B1}" destId="{4E69E95B-A623-4B83-99BA-F89DEA9B389B}" srcOrd="6" destOrd="0" presId="urn:microsoft.com/office/officeart/2018/2/layout/IconVerticalSolidList"/>
    <dgm:cxn modelId="{4FD55C38-9B33-4995-92F9-6DE9FA9CCCA1}" type="presParOf" srcId="{4E69E95B-A623-4B83-99BA-F89DEA9B389B}" destId="{1B67CB5E-6E9A-47C3-AECE-859C34D9B8A1}" srcOrd="0" destOrd="0" presId="urn:microsoft.com/office/officeart/2018/2/layout/IconVerticalSolidList"/>
    <dgm:cxn modelId="{E7252FEB-46E7-4061-B0D3-4E5F4E56C582}" type="presParOf" srcId="{4E69E95B-A623-4B83-99BA-F89DEA9B389B}" destId="{C9571E18-D7FF-4B0D-BDFB-874C459D62DD}" srcOrd="1" destOrd="0" presId="urn:microsoft.com/office/officeart/2018/2/layout/IconVerticalSolidList"/>
    <dgm:cxn modelId="{657B7DF5-5825-4216-AFB3-0E23DAC254A7}" type="presParOf" srcId="{4E69E95B-A623-4B83-99BA-F89DEA9B389B}" destId="{8CA915B6-0AC9-41E3-81B7-DCF4E59CF1D0}" srcOrd="2" destOrd="0" presId="urn:microsoft.com/office/officeart/2018/2/layout/IconVerticalSolidList"/>
    <dgm:cxn modelId="{24866B05-82DA-47D6-8709-CF3D963541B5}" type="presParOf" srcId="{4E69E95B-A623-4B83-99BA-F89DEA9B389B}" destId="{7E62CBD1-3EFA-4C79-873D-D782BCD99309}" srcOrd="3" destOrd="0" presId="urn:microsoft.com/office/officeart/2018/2/layout/IconVerticalSolidList"/>
    <dgm:cxn modelId="{B742B017-7607-4030-A177-29100D0A9AC0}" type="presParOf" srcId="{E144412A-70B1-4F42-BDDA-4ED0056DB7B1}" destId="{9D092C2C-20FD-4892-B5F8-9B6F6771970F}" srcOrd="7" destOrd="0" presId="urn:microsoft.com/office/officeart/2018/2/layout/IconVerticalSolidList"/>
    <dgm:cxn modelId="{E71709EF-A5F5-4F7D-AE23-D371DBD318DC}" type="presParOf" srcId="{E144412A-70B1-4F42-BDDA-4ED0056DB7B1}" destId="{4E153C7B-A219-40FB-ABE8-270F2EC9E736}" srcOrd="8" destOrd="0" presId="urn:microsoft.com/office/officeart/2018/2/layout/IconVerticalSolidList"/>
    <dgm:cxn modelId="{9AA40333-70FC-44F5-A14F-D987AB9BC36C}" type="presParOf" srcId="{4E153C7B-A219-40FB-ABE8-270F2EC9E736}" destId="{2C9D175E-F3CA-405B-AA4C-E69629B914B5}" srcOrd="0" destOrd="0" presId="urn:microsoft.com/office/officeart/2018/2/layout/IconVerticalSolidList"/>
    <dgm:cxn modelId="{34D6200B-19BA-4227-AB2D-185E29551BB9}" type="presParOf" srcId="{4E153C7B-A219-40FB-ABE8-270F2EC9E736}" destId="{81CB7F7B-B3E2-4299-8F25-788A84219D6C}" srcOrd="1" destOrd="0" presId="urn:microsoft.com/office/officeart/2018/2/layout/IconVerticalSolidList"/>
    <dgm:cxn modelId="{50D12CCC-A93D-4D68-829C-4CE0F87241DF}" type="presParOf" srcId="{4E153C7B-A219-40FB-ABE8-270F2EC9E736}" destId="{BF64744A-6B06-420A-89D9-37276846C61D}" srcOrd="2" destOrd="0" presId="urn:microsoft.com/office/officeart/2018/2/layout/IconVerticalSolidList"/>
    <dgm:cxn modelId="{EEC71A11-CE1E-4911-882A-B658B5783463}" type="presParOf" srcId="{4E153C7B-A219-40FB-ABE8-270F2EC9E736}" destId="{3AE2ED81-441B-4B08-897C-DA762F26EBB7}" srcOrd="3" destOrd="0" presId="urn:microsoft.com/office/officeart/2018/2/layout/IconVerticalSolidList"/>
    <dgm:cxn modelId="{5899DE72-CA4F-4BF4-92F4-8D49D7ACC0BA}" type="presParOf" srcId="{E144412A-70B1-4F42-BDDA-4ED0056DB7B1}" destId="{B04FF135-F916-4095-9DDB-BC4E180BB680}" srcOrd="9" destOrd="0" presId="urn:microsoft.com/office/officeart/2018/2/layout/IconVerticalSolidList"/>
    <dgm:cxn modelId="{2C050C70-2ABB-4366-BDA9-3EC029FFFF9F}" type="presParOf" srcId="{E144412A-70B1-4F42-BDDA-4ED0056DB7B1}" destId="{3941EAEB-CC7B-4135-85FD-519F90B49544}" srcOrd="10" destOrd="0" presId="urn:microsoft.com/office/officeart/2018/2/layout/IconVerticalSolidList"/>
    <dgm:cxn modelId="{7BD2C3A8-C995-42DA-B24C-972F7E23C0EB}" type="presParOf" srcId="{3941EAEB-CC7B-4135-85FD-519F90B49544}" destId="{3905C921-CFA4-4DF2-A1FD-A7D2555948CC}" srcOrd="0" destOrd="0" presId="urn:microsoft.com/office/officeart/2018/2/layout/IconVerticalSolidList"/>
    <dgm:cxn modelId="{6290CA27-6459-44E3-82C7-A27FF446FCBA}" type="presParOf" srcId="{3941EAEB-CC7B-4135-85FD-519F90B49544}" destId="{DBDE149D-0A6F-4139-B747-D590ED1C70C2}" srcOrd="1" destOrd="0" presId="urn:microsoft.com/office/officeart/2018/2/layout/IconVerticalSolidList"/>
    <dgm:cxn modelId="{9D772F88-517A-44CA-B83D-02BBA114918E}" type="presParOf" srcId="{3941EAEB-CC7B-4135-85FD-519F90B49544}" destId="{BF7AF27C-00F9-4448-9A9B-943414EC51A1}" srcOrd="2" destOrd="0" presId="urn:microsoft.com/office/officeart/2018/2/layout/IconVerticalSolidList"/>
    <dgm:cxn modelId="{475C68CF-5D1F-4434-A1EF-D641163BC1C8}" type="presParOf" srcId="{3941EAEB-CC7B-4135-85FD-519F90B49544}" destId="{D9A98D0E-96AD-4FFB-A2D0-CEE88888DD4B}" srcOrd="3" destOrd="0" presId="urn:microsoft.com/office/officeart/2018/2/layout/IconVerticalSolidList"/>
    <dgm:cxn modelId="{83FB7DF7-7B46-4313-BDAD-3AB2EAB138B1}" type="presParOf" srcId="{E144412A-70B1-4F42-BDDA-4ED0056DB7B1}" destId="{5BEB7084-1CA0-4E81-B67F-E73BFFF59108}" srcOrd="11" destOrd="0" presId="urn:microsoft.com/office/officeart/2018/2/layout/IconVerticalSolidList"/>
    <dgm:cxn modelId="{ADD86911-3744-4ECF-B5AD-D64A5A634B56}" type="presParOf" srcId="{E144412A-70B1-4F42-BDDA-4ED0056DB7B1}" destId="{E681B8F2-6BF5-4EEE-BA2F-C3F3B37D4E19}" srcOrd="12" destOrd="0" presId="urn:microsoft.com/office/officeart/2018/2/layout/IconVerticalSolidList"/>
    <dgm:cxn modelId="{3D385349-5BE6-46CB-85F8-5D8BCE2DE558}" type="presParOf" srcId="{E681B8F2-6BF5-4EEE-BA2F-C3F3B37D4E19}" destId="{8ACC22F2-E966-4989-B55B-8982DF04356A}" srcOrd="0" destOrd="0" presId="urn:microsoft.com/office/officeart/2018/2/layout/IconVerticalSolidList"/>
    <dgm:cxn modelId="{7EA56CC6-D78E-43C9-93CC-DCB9D0FF69A0}" type="presParOf" srcId="{E681B8F2-6BF5-4EEE-BA2F-C3F3B37D4E19}" destId="{DB287970-B5B0-4868-BDCE-4F6DC96681FA}" srcOrd="1" destOrd="0" presId="urn:microsoft.com/office/officeart/2018/2/layout/IconVerticalSolidList"/>
    <dgm:cxn modelId="{197AD705-EBC8-4523-B3B6-3A3905B4932C}" type="presParOf" srcId="{E681B8F2-6BF5-4EEE-BA2F-C3F3B37D4E19}" destId="{2080F086-6F7E-4909-B53C-B444061A59B7}" srcOrd="2" destOrd="0" presId="urn:microsoft.com/office/officeart/2018/2/layout/IconVerticalSolidList"/>
    <dgm:cxn modelId="{78079827-51D2-4029-83E6-D25F19AA6687}" type="presParOf" srcId="{E681B8F2-6BF5-4EEE-BA2F-C3F3B37D4E19}" destId="{295C0CC3-A2C8-4BF7-8E1C-C74297CAFA14}"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7AB68A6-3D18-474F-9611-91B0BE051285}"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US"/>
        </a:p>
      </dgm:t>
    </dgm:pt>
    <dgm:pt modelId="{33608C08-D207-495D-AF8E-F962EA949DF1}">
      <dgm:prSet/>
      <dgm:spPr/>
      <dgm:t>
        <a:bodyPr/>
        <a:lstStyle/>
        <a:p>
          <a:r>
            <a:rPr lang="en-US" dirty="0"/>
            <a:t>Policy: DDS created a program that addresses </a:t>
          </a:r>
          <a:r>
            <a:rPr lang="en-US" dirty="0" err="1"/>
            <a:t>thes</a:t>
          </a:r>
          <a:r>
            <a:rPr lang="en-US" dirty="0"/>
            <a:t> policy barriers.  </a:t>
          </a:r>
        </a:p>
      </dgm:t>
    </dgm:pt>
    <dgm:pt modelId="{155B9DA6-E4F8-4798-9698-229983AD13AD}" type="parTrans" cxnId="{85393A5F-CFAA-4368-B9D7-86EA77BE84AB}">
      <dgm:prSet/>
      <dgm:spPr/>
      <dgm:t>
        <a:bodyPr/>
        <a:lstStyle/>
        <a:p>
          <a:endParaRPr lang="en-US"/>
        </a:p>
      </dgm:t>
    </dgm:pt>
    <dgm:pt modelId="{1E43CDB3-7D9A-4AC7-BD37-A8917AF78A9F}" type="sibTrans" cxnId="{85393A5F-CFAA-4368-B9D7-86EA77BE84AB}">
      <dgm:prSet/>
      <dgm:spPr/>
      <dgm:t>
        <a:bodyPr/>
        <a:lstStyle/>
        <a:p>
          <a:endParaRPr lang="en-US"/>
        </a:p>
      </dgm:t>
    </dgm:pt>
    <dgm:pt modelId="{AF2A93CF-176F-459C-9979-372173FC09F2}">
      <dgm:prSet/>
      <dgm:spPr/>
      <dgm:t>
        <a:bodyPr/>
        <a:lstStyle/>
        <a:p>
          <a:r>
            <a:rPr lang="en-US" dirty="0"/>
            <a:t>Funding: Waiver service addresses Insurance funding gap</a:t>
          </a:r>
        </a:p>
      </dgm:t>
    </dgm:pt>
    <dgm:pt modelId="{360D446B-94F7-4468-A6FC-0C093494A0B6}" type="parTrans" cxnId="{69B981E2-365D-4E61-B4A1-1F844E252580}">
      <dgm:prSet/>
      <dgm:spPr/>
      <dgm:t>
        <a:bodyPr/>
        <a:lstStyle/>
        <a:p>
          <a:endParaRPr lang="en-US"/>
        </a:p>
      </dgm:t>
    </dgm:pt>
    <dgm:pt modelId="{A8EE4CC1-0D06-4305-980A-9002B90F64A3}" type="sibTrans" cxnId="{69B981E2-365D-4E61-B4A1-1F844E252580}">
      <dgm:prSet/>
      <dgm:spPr/>
      <dgm:t>
        <a:bodyPr/>
        <a:lstStyle/>
        <a:p>
          <a:endParaRPr lang="en-US"/>
        </a:p>
      </dgm:t>
    </dgm:pt>
    <dgm:pt modelId="{AE1262F4-A711-4263-9CB7-33009EB9F779}">
      <dgm:prSet/>
      <dgm:spPr/>
      <dgm:t>
        <a:bodyPr/>
        <a:lstStyle/>
        <a:p>
          <a:r>
            <a:rPr lang="en-US"/>
            <a:t>Lack of Access to Assessment: 12 agencies with expert providers.</a:t>
          </a:r>
        </a:p>
      </dgm:t>
    </dgm:pt>
    <dgm:pt modelId="{C6C70714-085E-4099-841F-310CC087A1BF}" type="parTrans" cxnId="{5915A5BC-DC7D-4968-8970-3D20846778A9}">
      <dgm:prSet/>
      <dgm:spPr/>
      <dgm:t>
        <a:bodyPr/>
        <a:lstStyle/>
        <a:p>
          <a:endParaRPr lang="en-US"/>
        </a:p>
      </dgm:t>
    </dgm:pt>
    <dgm:pt modelId="{F7B798BB-9CF2-4C8E-8761-5F383E5FCEB6}" type="sibTrans" cxnId="{5915A5BC-DC7D-4968-8970-3D20846778A9}">
      <dgm:prSet/>
      <dgm:spPr/>
      <dgm:t>
        <a:bodyPr/>
        <a:lstStyle/>
        <a:p>
          <a:endParaRPr lang="en-US"/>
        </a:p>
      </dgm:t>
    </dgm:pt>
    <dgm:pt modelId="{D4F1CFA4-054F-43C7-821E-33130503397E}">
      <dgm:prSet/>
      <dgm:spPr/>
      <dgm:t>
        <a:bodyPr/>
        <a:lstStyle/>
        <a:p>
          <a:r>
            <a:rPr lang="en-US" dirty="0"/>
            <a:t>Unawareness/Lack of training: Team based assessment and built-in training hours for whole team</a:t>
          </a:r>
        </a:p>
      </dgm:t>
    </dgm:pt>
    <dgm:pt modelId="{BD275A25-2D54-4616-91A7-0DB14B259C3C}" type="parTrans" cxnId="{51A4A839-D254-4D50-ADBC-0686B010D646}">
      <dgm:prSet/>
      <dgm:spPr/>
      <dgm:t>
        <a:bodyPr/>
        <a:lstStyle/>
        <a:p>
          <a:endParaRPr lang="en-US"/>
        </a:p>
      </dgm:t>
    </dgm:pt>
    <dgm:pt modelId="{7B51ADBD-BD45-4927-8451-E9E1CC271E6A}" type="sibTrans" cxnId="{51A4A839-D254-4D50-ADBC-0686B010D646}">
      <dgm:prSet/>
      <dgm:spPr/>
      <dgm:t>
        <a:bodyPr/>
        <a:lstStyle/>
        <a:p>
          <a:endParaRPr lang="en-US"/>
        </a:p>
      </dgm:t>
    </dgm:pt>
    <dgm:pt modelId="{6786CCBD-1FDC-4423-925F-C169BCC38D64}">
      <dgm:prSet/>
      <dgm:spPr/>
      <dgm:t>
        <a:bodyPr/>
        <a:lstStyle/>
        <a:p>
          <a:r>
            <a:rPr lang="en-US" dirty="0"/>
            <a:t>Understudied Population/Subject: Innovation grants offer opportunity for studies</a:t>
          </a:r>
        </a:p>
      </dgm:t>
      <dgm:extLst>
        <a:ext uri="{E40237B7-FDA0-4F09-8148-C483321AD2D9}">
          <dgm14:cNvPr xmlns:dgm14="http://schemas.microsoft.com/office/drawing/2010/diagram" id="0" name="" descr="ix labeled boxes representing key supports the DDS Assistive Technology program provides: 1) Policy: DDS created a program that addresses policy barriers. 2) Funding: Waiver service addresses insurance funding gap. 3) Lack of Access to Assessment: 12 agencies with expert providers. 4) Unawareness/Lack of Training: Team-based assessment and built-in training hours for the whole team. 5) Understudied Population/Subject: Innovation grants offer opportunities for studies."/>
        </a:ext>
      </dgm:extLst>
    </dgm:pt>
    <dgm:pt modelId="{CFA68372-328D-478C-B758-8BC0B0B899E5}" type="parTrans" cxnId="{42A3FF6D-A08D-4FD9-B2A8-E9FE82955242}">
      <dgm:prSet/>
      <dgm:spPr/>
      <dgm:t>
        <a:bodyPr/>
        <a:lstStyle/>
        <a:p>
          <a:endParaRPr lang="en-US"/>
        </a:p>
      </dgm:t>
    </dgm:pt>
    <dgm:pt modelId="{5DB4BA2C-FDD7-43C0-B997-6D1A41752630}" type="sibTrans" cxnId="{42A3FF6D-A08D-4FD9-B2A8-E9FE82955242}">
      <dgm:prSet/>
      <dgm:spPr/>
      <dgm:t>
        <a:bodyPr/>
        <a:lstStyle/>
        <a:p>
          <a:endParaRPr lang="en-US"/>
        </a:p>
      </dgm:t>
    </dgm:pt>
    <dgm:pt modelId="{7746AD2C-E7CE-4D6D-8F19-402154E881EE}" type="pres">
      <dgm:prSet presAssocID="{87AB68A6-3D18-474F-9611-91B0BE051285}" presName="diagram" presStyleCnt="0">
        <dgm:presLayoutVars>
          <dgm:dir/>
          <dgm:resizeHandles val="exact"/>
        </dgm:presLayoutVars>
      </dgm:prSet>
      <dgm:spPr/>
    </dgm:pt>
    <dgm:pt modelId="{95099C8A-A59A-4E98-AD31-975192B32BF0}" type="pres">
      <dgm:prSet presAssocID="{33608C08-D207-495D-AF8E-F962EA949DF1}" presName="node" presStyleLbl="node1" presStyleIdx="0" presStyleCnt="5">
        <dgm:presLayoutVars>
          <dgm:bulletEnabled val="1"/>
        </dgm:presLayoutVars>
      </dgm:prSet>
      <dgm:spPr/>
    </dgm:pt>
    <dgm:pt modelId="{39BC3A0B-CAB3-4C5F-8013-D32FDCC1F0F9}" type="pres">
      <dgm:prSet presAssocID="{1E43CDB3-7D9A-4AC7-BD37-A8917AF78A9F}" presName="sibTrans" presStyleCnt="0"/>
      <dgm:spPr/>
    </dgm:pt>
    <dgm:pt modelId="{E7C2AECE-5345-4ADA-B071-99C09704E1E8}" type="pres">
      <dgm:prSet presAssocID="{AF2A93CF-176F-459C-9979-372173FC09F2}" presName="node" presStyleLbl="node1" presStyleIdx="1" presStyleCnt="5">
        <dgm:presLayoutVars>
          <dgm:bulletEnabled val="1"/>
        </dgm:presLayoutVars>
      </dgm:prSet>
      <dgm:spPr/>
    </dgm:pt>
    <dgm:pt modelId="{155F9F43-757E-46A5-8BCA-31F391576919}" type="pres">
      <dgm:prSet presAssocID="{A8EE4CC1-0D06-4305-980A-9002B90F64A3}" presName="sibTrans" presStyleCnt="0"/>
      <dgm:spPr/>
    </dgm:pt>
    <dgm:pt modelId="{56D6B2B2-64A4-4E85-9481-79E99F20181A}" type="pres">
      <dgm:prSet presAssocID="{AE1262F4-A711-4263-9CB7-33009EB9F779}" presName="node" presStyleLbl="node1" presStyleIdx="2" presStyleCnt="5">
        <dgm:presLayoutVars>
          <dgm:bulletEnabled val="1"/>
        </dgm:presLayoutVars>
      </dgm:prSet>
      <dgm:spPr/>
    </dgm:pt>
    <dgm:pt modelId="{8E943C62-1707-4349-841C-61F8F19153E6}" type="pres">
      <dgm:prSet presAssocID="{F7B798BB-9CF2-4C8E-8761-5F383E5FCEB6}" presName="sibTrans" presStyleCnt="0"/>
      <dgm:spPr/>
    </dgm:pt>
    <dgm:pt modelId="{B2B05537-BE40-4667-8AF6-CC50894BFC81}" type="pres">
      <dgm:prSet presAssocID="{D4F1CFA4-054F-43C7-821E-33130503397E}" presName="node" presStyleLbl="node1" presStyleIdx="3" presStyleCnt="5">
        <dgm:presLayoutVars>
          <dgm:bulletEnabled val="1"/>
        </dgm:presLayoutVars>
      </dgm:prSet>
      <dgm:spPr/>
    </dgm:pt>
    <dgm:pt modelId="{E396661F-46E6-42E4-B6C1-6647332104DF}" type="pres">
      <dgm:prSet presAssocID="{7B51ADBD-BD45-4927-8451-E9E1CC271E6A}" presName="sibTrans" presStyleCnt="0"/>
      <dgm:spPr/>
    </dgm:pt>
    <dgm:pt modelId="{6C2DCEA8-F38D-4822-9ECC-E1B29A8E64A4}" type="pres">
      <dgm:prSet presAssocID="{6786CCBD-1FDC-4423-925F-C169BCC38D64}" presName="node" presStyleLbl="node1" presStyleIdx="4" presStyleCnt="5">
        <dgm:presLayoutVars>
          <dgm:bulletEnabled val="1"/>
        </dgm:presLayoutVars>
      </dgm:prSet>
      <dgm:spPr/>
    </dgm:pt>
  </dgm:ptLst>
  <dgm:cxnLst>
    <dgm:cxn modelId="{51A4A839-D254-4D50-ADBC-0686B010D646}" srcId="{87AB68A6-3D18-474F-9611-91B0BE051285}" destId="{D4F1CFA4-054F-43C7-821E-33130503397E}" srcOrd="3" destOrd="0" parTransId="{BD275A25-2D54-4616-91A7-0DB14B259C3C}" sibTransId="{7B51ADBD-BD45-4927-8451-E9E1CC271E6A}"/>
    <dgm:cxn modelId="{C5D2DC45-67C0-46BB-AD9D-AF8DBD1EFF7A}" type="presOf" srcId="{6786CCBD-1FDC-4423-925F-C169BCC38D64}" destId="{6C2DCEA8-F38D-4822-9ECC-E1B29A8E64A4}" srcOrd="0" destOrd="0" presId="urn:microsoft.com/office/officeart/2005/8/layout/default"/>
    <dgm:cxn modelId="{EE567755-ACEA-466B-8090-24F84E410A6E}" type="presOf" srcId="{AE1262F4-A711-4263-9CB7-33009EB9F779}" destId="{56D6B2B2-64A4-4E85-9481-79E99F20181A}" srcOrd="0" destOrd="0" presId="urn:microsoft.com/office/officeart/2005/8/layout/default"/>
    <dgm:cxn modelId="{85393A5F-CFAA-4368-B9D7-86EA77BE84AB}" srcId="{87AB68A6-3D18-474F-9611-91B0BE051285}" destId="{33608C08-D207-495D-AF8E-F962EA949DF1}" srcOrd="0" destOrd="0" parTransId="{155B9DA6-E4F8-4798-9698-229983AD13AD}" sibTransId="{1E43CDB3-7D9A-4AC7-BD37-A8917AF78A9F}"/>
    <dgm:cxn modelId="{9E5AD764-CE95-4A5D-82CE-4D1225E23D1B}" type="presOf" srcId="{AF2A93CF-176F-459C-9979-372173FC09F2}" destId="{E7C2AECE-5345-4ADA-B071-99C09704E1E8}" srcOrd="0" destOrd="0" presId="urn:microsoft.com/office/officeart/2005/8/layout/default"/>
    <dgm:cxn modelId="{2C415D66-ED00-4FBE-88EB-9A1DE8BC6A1D}" type="presOf" srcId="{33608C08-D207-495D-AF8E-F962EA949DF1}" destId="{95099C8A-A59A-4E98-AD31-975192B32BF0}" srcOrd="0" destOrd="0" presId="urn:microsoft.com/office/officeart/2005/8/layout/default"/>
    <dgm:cxn modelId="{3B75F366-D3A6-4922-86EF-82C30970B62F}" type="presOf" srcId="{87AB68A6-3D18-474F-9611-91B0BE051285}" destId="{7746AD2C-E7CE-4D6D-8F19-402154E881EE}" srcOrd="0" destOrd="0" presId="urn:microsoft.com/office/officeart/2005/8/layout/default"/>
    <dgm:cxn modelId="{42A3FF6D-A08D-4FD9-B2A8-E9FE82955242}" srcId="{87AB68A6-3D18-474F-9611-91B0BE051285}" destId="{6786CCBD-1FDC-4423-925F-C169BCC38D64}" srcOrd="4" destOrd="0" parTransId="{CFA68372-328D-478C-B758-8BC0B0B899E5}" sibTransId="{5DB4BA2C-FDD7-43C0-B997-6D1A41752630}"/>
    <dgm:cxn modelId="{5C484280-7A58-4BC0-951A-48A650E077D5}" type="presOf" srcId="{D4F1CFA4-054F-43C7-821E-33130503397E}" destId="{B2B05537-BE40-4667-8AF6-CC50894BFC81}" srcOrd="0" destOrd="0" presId="urn:microsoft.com/office/officeart/2005/8/layout/default"/>
    <dgm:cxn modelId="{5915A5BC-DC7D-4968-8970-3D20846778A9}" srcId="{87AB68A6-3D18-474F-9611-91B0BE051285}" destId="{AE1262F4-A711-4263-9CB7-33009EB9F779}" srcOrd="2" destOrd="0" parTransId="{C6C70714-085E-4099-841F-310CC087A1BF}" sibTransId="{F7B798BB-9CF2-4C8E-8761-5F383E5FCEB6}"/>
    <dgm:cxn modelId="{69B981E2-365D-4E61-B4A1-1F844E252580}" srcId="{87AB68A6-3D18-474F-9611-91B0BE051285}" destId="{AF2A93CF-176F-459C-9979-372173FC09F2}" srcOrd="1" destOrd="0" parTransId="{360D446B-94F7-4468-A6FC-0C093494A0B6}" sibTransId="{A8EE4CC1-0D06-4305-980A-9002B90F64A3}"/>
    <dgm:cxn modelId="{142FA95C-044D-41CF-9662-4485AA485E1E}" type="presParOf" srcId="{7746AD2C-E7CE-4D6D-8F19-402154E881EE}" destId="{95099C8A-A59A-4E98-AD31-975192B32BF0}" srcOrd="0" destOrd="0" presId="urn:microsoft.com/office/officeart/2005/8/layout/default"/>
    <dgm:cxn modelId="{533B86A5-1D3F-47AA-BB51-5E6BBA05B604}" type="presParOf" srcId="{7746AD2C-E7CE-4D6D-8F19-402154E881EE}" destId="{39BC3A0B-CAB3-4C5F-8013-D32FDCC1F0F9}" srcOrd="1" destOrd="0" presId="urn:microsoft.com/office/officeart/2005/8/layout/default"/>
    <dgm:cxn modelId="{05FF0E5F-7115-46F9-A4BC-1B3794C4E5A8}" type="presParOf" srcId="{7746AD2C-E7CE-4D6D-8F19-402154E881EE}" destId="{E7C2AECE-5345-4ADA-B071-99C09704E1E8}" srcOrd="2" destOrd="0" presId="urn:microsoft.com/office/officeart/2005/8/layout/default"/>
    <dgm:cxn modelId="{2D58765F-F801-47C5-9745-EB45C9EE546E}" type="presParOf" srcId="{7746AD2C-E7CE-4D6D-8F19-402154E881EE}" destId="{155F9F43-757E-46A5-8BCA-31F391576919}" srcOrd="3" destOrd="0" presId="urn:microsoft.com/office/officeart/2005/8/layout/default"/>
    <dgm:cxn modelId="{81FED07E-77A0-4B36-B06F-92D0F9CFAF6C}" type="presParOf" srcId="{7746AD2C-E7CE-4D6D-8F19-402154E881EE}" destId="{56D6B2B2-64A4-4E85-9481-79E99F20181A}" srcOrd="4" destOrd="0" presId="urn:microsoft.com/office/officeart/2005/8/layout/default"/>
    <dgm:cxn modelId="{49ABB79D-F4C5-4ECA-A3A4-BB40011AFF7E}" type="presParOf" srcId="{7746AD2C-E7CE-4D6D-8F19-402154E881EE}" destId="{8E943C62-1707-4349-841C-61F8F19153E6}" srcOrd="5" destOrd="0" presId="urn:microsoft.com/office/officeart/2005/8/layout/default"/>
    <dgm:cxn modelId="{FBA79D14-E501-43B6-8D39-69F9C97E07EF}" type="presParOf" srcId="{7746AD2C-E7CE-4D6D-8F19-402154E881EE}" destId="{B2B05537-BE40-4667-8AF6-CC50894BFC81}" srcOrd="6" destOrd="0" presId="urn:microsoft.com/office/officeart/2005/8/layout/default"/>
    <dgm:cxn modelId="{AE430EA6-805F-48A8-9135-141C86A8123E}" type="presParOf" srcId="{7746AD2C-E7CE-4D6D-8F19-402154E881EE}" destId="{E396661F-46E6-42E4-B6C1-6647332104DF}" srcOrd="7" destOrd="0" presId="urn:microsoft.com/office/officeart/2005/8/layout/default"/>
    <dgm:cxn modelId="{9B3DDEBA-3CDB-4D39-9F28-EFD63AD228CB}" type="presParOf" srcId="{7746AD2C-E7CE-4D6D-8F19-402154E881EE}" destId="{6C2DCEA8-F38D-4822-9ECC-E1B29A8E64A4}" srcOrd="8"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10D9CE5-03EB-4A90-8B63-2EB3C566FD3E}" type="doc">
      <dgm:prSet loTypeId="urn:microsoft.com/office/officeart/2008/layout/LinedList" loCatId="list" qsTypeId="urn:microsoft.com/office/officeart/2005/8/quickstyle/simple1" qsCatId="simple" csTypeId="urn:microsoft.com/office/officeart/2005/8/colors/colorful1" csCatId="colorful" phldr="1"/>
      <dgm:spPr/>
      <dgm:t>
        <a:bodyPr/>
        <a:lstStyle/>
        <a:p>
          <a:endParaRPr lang="en-US"/>
        </a:p>
      </dgm:t>
    </dgm:pt>
    <dgm:pt modelId="{C9E8D7D3-149D-4A20-ABD5-EC50E94E028E}">
      <dgm:prSet custT="1"/>
      <dgm:spPr/>
      <dgm:t>
        <a:bodyPr/>
        <a:lstStyle/>
        <a:p>
          <a:r>
            <a:rPr lang="en-US" sz="1800">
              <a:latin typeface="+mn-lt"/>
              <a:cs typeface="Arial" panose="020B0604020202020204" pitchFamily="34" charset="0"/>
            </a:rPr>
            <a:t>Electronic motion sensor devices</a:t>
          </a:r>
        </a:p>
      </dgm:t>
    </dgm:pt>
    <dgm:pt modelId="{422E7883-24CA-4DF4-8E7F-4E9DCAC4BA2C}" type="parTrans" cxnId="{EEAF4613-A2BE-419F-8767-1BE8821CD3A5}">
      <dgm:prSet/>
      <dgm:spPr/>
      <dgm:t>
        <a:bodyPr/>
        <a:lstStyle/>
        <a:p>
          <a:endParaRPr lang="en-US">
            <a:latin typeface="+mn-lt"/>
          </a:endParaRPr>
        </a:p>
      </dgm:t>
    </dgm:pt>
    <dgm:pt modelId="{85FEE4B3-C51F-4A58-B128-706C952745A3}" type="sibTrans" cxnId="{EEAF4613-A2BE-419F-8767-1BE8821CD3A5}">
      <dgm:prSet/>
      <dgm:spPr/>
      <dgm:t>
        <a:bodyPr/>
        <a:lstStyle/>
        <a:p>
          <a:endParaRPr lang="en-US">
            <a:latin typeface="+mn-lt"/>
          </a:endParaRPr>
        </a:p>
      </dgm:t>
    </dgm:pt>
    <dgm:pt modelId="{E26948E8-4596-4B64-B6B3-AC208AA6EA68}">
      <dgm:prSet custT="1"/>
      <dgm:spPr/>
      <dgm:t>
        <a:bodyPr/>
        <a:lstStyle/>
        <a:p>
          <a:r>
            <a:rPr lang="en-US" sz="1800">
              <a:latin typeface="+mn-lt"/>
              <a:cs typeface="Arial" panose="020B0604020202020204" pitchFamily="34" charset="0"/>
            </a:rPr>
            <a:t>Door alarms</a:t>
          </a:r>
        </a:p>
      </dgm:t>
    </dgm:pt>
    <dgm:pt modelId="{C4263E36-C3B9-4335-976F-11AADBC0210A}" type="parTrans" cxnId="{B6A805A1-DF01-4917-BF8F-DE8CE56373C5}">
      <dgm:prSet/>
      <dgm:spPr/>
      <dgm:t>
        <a:bodyPr/>
        <a:lstStyle/>
        <a:p>
          <a:endParaRPr lang="en-US">
            <a:latin typeface="+mn-lt"/>
          </a:endParaRPr>
        </a:p>
      </dgm:t>
    </dgm:pt>
    <dgm:pt modelId="{5CEDA2CC-A1DA-4824-ABF6-B8A090C32268}" type="sibTrans" cxnId="{B6A805A1-DF01-4917-BF8F-DE8CE56373C5}">
      <dgm:prSet/>
      <dgm:spPr/>
      <dgm:t>
        <a:bodyPr/>
        <a:lstStyle/>
        <a:p>
          <a:endParaRPr lang="en-US">
            <a:latin typeface="+mn-lt"/>
          </a:endParaRPr>
        </a:p>
      </dgm:t>
    </dgm:pt>
    <dgm:pt modelId="{7FB0FB1B-BF3D-437A-9F76-509067586240}">
      <dgm:prSet custT="1"/>
      <dgm:spPr/>
      <dgm:t>
        <a:bodyPr/>
        <a:lstStyle/>
        <a:p>
          <a:r>
            <a:rPr lang="en-US" sz="1800">
              <a:latin typeface="+mn-lt"/>
              <a:cs typeface="Arial" panose="020B0604020202020204" pitchFamily="34" charset="0"/>
            </a:rPr>
            <a:t>Sensors that detect that a stove has been left on</a:t>
          </a:r>
        </a:p>
      </dgm:t>
    </dgm:pt>
    <dgm:pt modelId="{FD52C28B-162A-4872-8955-C3A7BB3F27A2}" type="parTrans" cxnId="{B81422C1-6A03-4BEB-A414-015891E062E7}">
      <dgm:prSet/>
      <dgm:spPr/>
      <dgm:t>
        <a:bodyPr/>
        <a:lstStyle/>
        <a:p>
          <a:endParaRPr lang="en-US">
            <a:latin typeface="+mn-lt"/>
          </a:endParaRPr>
        </a:p>
      </dgm:t>
    </dgm:pt>
    <dgm:pt modelId="{1887F4D7-C3B3-40D0-AB58-84C6C1FA4040}" type="sibTrans" cxnId="{B81422C1-6A03-4BEB-A414-015891E062E7}">
      <dgm:prSet/>
      <dgm:spPr/>
      <dgm:t>
        <a:bodyPr/>
        <a:lstStyle/>
        <a:p>
          <a:endParaRPr lang="en-US">
            <a:latin typeface="+mn-lt"/>
          </a:endParaRPr>
        </a:p>
      </dgm:t>
    </dgm:pt>
    <dgm:pt modelId="{8BE5AB21-EE59-4B1F-8274-74862331BB64}">
      <dgm:prSet custT="1"/>
      <dgm:spPr/>
      <dgm:t>
        <a:bodyPr/>
        <a:lstStyle/>
        <a:p>
          <a:pPr>
            <a:spcAft>
              <a:spcPts val="50"/>
            </a:spcAft>
          </a:pPr>
          <a:r>
            <a:rPr lang="en-US" sz="1600">
              <a:latin typeface="+mn-lt"/>
              <a:cs typeface="Arial" panose="020B0604020202020204" pitchFamily="34" charset="0"/>
            </a:rPr>
            <a:t>Telephones mods large or picture buttons/flashing lights</a:t>
          </a:r>
        </a:p>
      </dgm:t>
    </dgm:pt>
    <dgm:pt modelId="{9E7CB4D9-8BCA-4142-81B1-789EF49B75A3}" type="parTrans" cxnId="{015C50E7-3E78-441C-97C5-0BFE5F3ABAC2}">
      <dgm:prSet/>
      <dgm:spPr/>
      <dgm:t>
        <a:bodyPr/>
        <a:lstStyle/>
        <a:p>
          <a:endParaRPr lang="en-US">
            <a:latin typeface="+mn-lt"/>
          </a:endParaRPr>
        </a:p>
      </dgm:t>
    </dgm:pt>
    <dgm:pt modelId="{33CD5586-1F44-4A1B-B889-AE75D58E4470}" type="sibTrans" cxnId="{015C50E7-3E78-441C-97C5-0BFE5F3ABAC2}">
      <dgm:prSet/>
      <dgm:spPr/>
      <dgm:t>
        <a:bodyPr/>
        <a:lstStyle/>
        <a:p>
          <a:endParaRPr lang="en-US">
            <a:latin typeface="+mn-lt"/>
          </a:endParaRPr>
        </a:p>
      </dgm:t>
    </dgm:pt>
    <dgm:pt modelId="{BCDAFB84-7792-47D1-9293-750DC34127EC}">
      <dgm:prSet custT="1"/>
      <dgm:spPr/>
      <dgm:t>
        <a:bodyPr/>
        <a:lstStyle/>
        <a:p>
          <a:r>
            <a:rPr lang="en-US" sz="1600">
              <a:latin typeface="+mn-lt"/>
              <a:cs typeface="Arial" panose="020B0604020202020204" pitchFamily="34" charset="0"/>
            </a:rPr>
            <a:t>Device on wheelchair or walker to send an alert if the individual falls</a:t>
          </a:r>
        </a:p>
      </dgm:t>
    </dgm:pt>
    <dgm:pt modelId="{D6E4A77A-814E-48A9-A011-B25F725E3B4B}" type="parTrans" cxnId="{EDCBD403-C3D6-404C-85C3-50088F8E59F7}">
      <dgm:prSet/>
      <dgm:spPr/>
      <dgm:t>
        <a:bodyPr/>
        <a:lstStyle/>
        <a:p>
          <a:endParaRPr lang="en-US">
            <a:latin typeface="+mn-lt"/>
          </a:endParaRPr>
        </a:p>
      </dgm:t>
    </dgm:pt>
    <dgm:pt modelId="{CF01CD71-08DC-4311-97E6-8DC0BF87C9A1}" type="sibTrans" cxnId="{EDCBD403-C3D6-404C-85C3-50088F8E59F7}">
      <dgm:prSet/>
      <dgm:spPr/>
      <dgm:t>
        <a:bodyPr/>
        <a:lstStyle/>
        <a:p>
          <a:endParaRPr lang="en-US">
            <a:latin typeface="+mn-lt"/>
          </a:endParaRPr>
        </a:p>
      </dgm:t>
    </dgm:pt>
    <dgm:pt modelId="{50543C17-48F7-45C5-8C16-362037290A7E}">
      <dgm:prSet/>
      <dgm:spPr/>
      <dgm:t>
        <a:bodyPr/>
        <a:lstStyle/>
        <a:p>
          <a:r>
            <a:rPr lang="en-US" b="0" spc="-15">
              <a:effectLst/>
              <a:latin typeface="+mn-lt"/>
              <a:ea typeface="Calibri" panose="020F0502020204030204" pitchFamily="34" charset="0"/>
              <a:cs typeface="Arial" panose="020B0604020202020204" pitchFamily="34" charset="0"/>
            </a:rPr>
            <a:t>B</a:t>
          </a:r>
          <a:r>
            <a:rPr lang="en-US" spc="-15">
              <a:effectLst/>
              <a:latin typeface="+mn-lt"/>
              <a:ea typeface="Calibri" panose="020F0502020204030204" pitchFamily="34" charset="0"/>
              <a:cs typeface="Arial" panose="020B0604020202020204" pitchFamily="34" charset="0"/>
            </a:rPr>
            <a:t>racelet </a:t>
          </a:r>
          <a:r>
            <a:rPr lang="en-US">
              <a:effectLst/>
              <a:latin typeface="+mn-lt"/>
              <a:ea typeface="Calibri" panose="020F0502020204030204" pitchFamily="34" charset="0"/>
              <a:cs typeface="Arial" panose="020B0604020202020204" pitchFamily="34" charset="0"/>
            </a:rPr>
            <a:t>that detects </a:t>
          </a:r>
          <a:r>
            <a:rPr lang="en-US" spc="-15">
              <a:effectLst/>
              <a:latin typeface="+mn-lt"/>
              <a:ea typeface="Calibri" panose="020F0502020204030204" pitchFamily="34" charset="0"/>
              <a:cs typeface="Arial" panose="020B0604020202020204" pitchFamily="34" charset="0"/>
            </a:rPr>
            <a:t>seizure activity</a:t>
          </a:r>
          <a:endParaRPr lang="en-US">
            <a:latin typeface="+mn-lt"/>
            <a:cs typeface="Arial" panose="020B0604020202020204" pitchFamily="34" charset="0"/>
          </a:endParaRPr>
        </a:p>
      </dgm:t>
    </dgm:pt>
    <dgm:pt modelId="{A0BC84ED-8C07-4BF1-877F-6808B415CC72}" type="parTrans" cxnId="{389684AB-B92E-496D-B3FE-5B405FE5C0BE}">
      <dgm:prSet/>
      <dgm:spPr/>
      <dgm:t>
        <a:bodyPr/>
        <a:lstStyle/>
        <a:p>
          <a:endParaRPr lang="en-US">
            <a:latin typeface="+mn-lt"/>
          </a:endParaRPr>
        </a:p>
      </dgm:t>
    </dgm:pt>
    <dgm:pt modelId="{55A6C680-95BB-41FE-BE77-242F453738C1}" type="sibTrans" cxnId="{389684AB-B92E-496D-B3FE-5B405FE5C0BE}">
      <dgm:prSet/>
      <dgm:spPr/>
      <dgm:t>
        <a:bodyPr/>
        <a:lstStyle/>
        <a:p>
          <a:endParaRPr lang="en-US">
            <a:latin typeface="+mn-lt"/>
          </a:endParaRPr>
        </a:p>
      </dgm:t>
    </dgm:pt>
    <dgm:pt modelId="{1F9EE137-8EEC-418B-9518-4A040AE042BD}">
      <dgm:prSet/>
      <dgm:spPr/>
      <dgm:t>
        <a:bodyPr/>
        <a:lstStyle/>
        <a:p>
          <a:r>
            <a:rPr lang="en-US">
              <a:latin typeface="+mn-lt"/>
              <a:cs typeface="Arial" panose="020B0604020202020204" pitchFamily="34" charset="0"/>
            </a:rPr>
            <a:t>Devices that enhance images for people with low vision</a:t>
          </a:r>
        </a:p>
      </dgm:t>
    </dgm:pt>
    <dgm:pt modelId="{B416B829-4BF9-461B-BAA2-DF002B4CB249}" type="parTrans" cxnId="{9318F3BC-4F32-4717-947E-AE36763CAAED}">
      <dgm:prSet/>
      <dgm:spPr/>
      <dgm:t>
        <a:bodyPr/>
        <a:lstStyle/>
        <a:p>
          <a:endParaRPr lang="en-US">
            <a:latin typeface="+mn-lt"/>
          </a:endParaRPr>
        </a:p>
      </dgm:t>
    </dgm:pt>
    <dgm:pt modelId="{2F347E52-E3C5-4CE5-9F06-A754D92B7360}" type="sibTrans" cxnId="{9318F3BC-4F32-4717-947E-AE36763CAAED}">
      <dgm:prSet/>
      <dgm:spPr/>
      <dgm:t>
        <a:bodyPr/>
        <a:lstStyle/>
        <a:p>
          <a:endParaRPr lang="en-US">
            <a:latin typeface="+mn-lt"/>
          </a:endParaRPr>
        </a:p>
      </dgm:t>
    </dgm:pt>
    <dgm:pt modelId="{D667C9A2-8590-4750-9288-6784D438783F}">
      <dgm:prSet/>
      <dgm:spPr/>
      <dgm:t>
        <a:bodyPr/>
        <a:lstStyle/>
        <a:p>
          <a:r>
            <a:rPr lang="en-US">
              <a:latin typeface="+mn-lt"/>
              <a:cs typeface="Arial" panose="020B0604020202020204" pitchFamily="34" charset="0"/>
            </a:rPr>
            <a:t>Voice activation of lights, appliances, doors, </a:t>
          </a:r>
          <a:r>
            <a:rPr lang="en-US" err="1">
              <a:latin typeface="+mn-lt"/>
              <a:cs typeface="Arial" panose="020B0604020202020204" pitchFamily="34" charset="0"/>
            </a:rPr>
            <a:t>etc</a:t>
          </a:r>
          <a:endParaRPr lang="en-US">
            <a:latin typeface="+mn-lt"/>
            <a:cs typeface="Arial" panose="020B0604020202020204" pitchFamily="34" charset="0"/>
          </a:endParaRPr>
        </a:p>
      </dgm:t>
    </dgm:pt>
    <dgm:pt modelId="{D6021A69-ECA5-44F0-BC76-ABFD94C0B4A3}" type="parTrans" cxnId="{2A7A1454-FD57-4143-A987-865A5EC50776}">
      <dgm:prSet/>
      <dgm:spPr/>
      <dgm:t>
        <a:bodyPr/>
        <a:lstStyle/>
        <a:p>
          <a:endParaRPr lang="en-US">
            <a:latin typeface="+mn-lt"/>
          </a:endParaRPr>
        </a:p>
      </dgm:t>
    </dgm:pt>
    <dgm:pt modelId="{4FF940AA-5F4D-4FEF-912F-601CF547A90E}" type="sibTrans" cxnId="{2A7A1454-FD57-4143-A987-865A5EC50776}">
      <dgm:prSet/>
      <dgm:spPr/>
      <dgm:t>
        <a:bodyPr/>
        <a:lstStyle/>
        <a:p>
          <a:endParaRPr lang="en-US">
            <a:latin typeface="+mn-lt"/>
          </a:endParaRPr>
        </a:p>
      </dgm:t>
    </dgm:pt>
    <dgm:pt modelId="{FE2D2D2D-B347-4E82-9C77-A95389CACD47}">
      <dgm:prSet/>
      <dgm:spPr/>
      <dgm:t>
        <a:bodyPr/>
        <a:lstStyle/>
        <a:p>
          <a:r>
            <a:rPr lang="en-US">
              <a:latin typeface="+mn-lt"/>
              <a:cs typeface="Arial" panose="020B0604020202020204" pitchFamily="34" charset="0"/>
            </a:rPr>
            <a:t>Hand-held computer devices</a:t>
          </a:r>
        </a:p>
      </dgm:t>
    </dgm:pt>
    <dgm:pt modelId="{BB4C9DE4-69C0-4FF1-88BD-5AB26A7B6835}" type="parTrans" cxnId="{E36F5CBA-4CC9-4F8E-9894-F142BB85DD2F}">
      <dgm:prSet/>
      <dgm:spPr/>
      <dgm:t>
        <a:bodyPr/>
        <a:lstStyle/>
        <a:p>
          <a:endParaRPr lang="en-US">
            <a:latin typeface="+mn-lt"/>
          </a:endParaRPr>
        </a:p>
      </dgm:t>
    </dgm:pt>
    <dgm:pt modelId="{21185E0B-35F2-4E5F-874E-3B5BA004E981}" type="sibTrans" cxnId="{E36F5CBA-4CC9-4F8E-9894-F142BB85DD2F}">
      <dgm:prSet/>
      <dgm:spPr/>
      <dgm:t>
        <a:bodyPr/>
        <a:lstStyle/>
        <a:p>
          <a:endParaRPr lang="en-US">
            <a:latin typeface="+mn-lt"/>
          </a:endParaRPr>
        </a:p>
      </dgm:t>
    </dgm:pt>
    <dgm:pt modelId="{79BD2240-0F02-407B-9990-B3A7F00338F4}" type="pres">
      <dgm:prSet presAssocID="{710D9CE5-03EB-4A90-8B63-2EB3C566FD3E}" presName="vert0" presStyleCnt="0">
        <dgm:presLayoutVars>
          <dgm:dir/>
          <dgm:animOne val="branch"/>
          <dgm:animLvl val="lvl"/>
        </dgm:presLayoutVars>
      </dgm:prSet>
      <dgm:spPr/>
    </dgm:pt>
    <dgm:pt modelId="{36C5D7E1-3102-4647-B28F-108E124F109D}" type="pres">
      <dgm:prSet presAssocID="{C9E8D7D3-149D-4A20-ABD5-EC50E94E028E}" presName="thickLine" presStyleLbl="alignNode1" presStyleIdx="0" presStyleCnt="9"/>
      <dgm:spPr/>
    </dgm:pt>
    <dgm:pt modelId="{926D9845-815A-460F-91CA-91B0C961DC41}" type="pres">
      <dgm:prSet presAssocID="{C9E8D7D3-149D-4A20-ABD5-EC50E94E028E}" presName="horz1" presStyleCnt="0"/>
      <dgm:spPr/>
    </dgm:pt>
    <dgm:pt modelId="{16181500-B856-4B1E-813C-F038F51D9D54}" type="pres">
      <dgm:prSet presAssocID="{C9E8D7D3-149D-4A20-ABD5-EC50E94E028E}" presName="tx1" presStyleLbl="revTx" presStyleIdx="0" presStyleCnt="9"/>
      <dgm:spPr/>
    </dgm:pt>
    <dgm:pt modelId="{3E948304-553A-4B7D-8D41-F987644DA351}" type="pres">
      <dgm:prSet presAssocID="{C9E8D7D3-149D-4A20-ABD5-EC50E94E028E}" presName="vert1" presStyleCnt="0"/>
      <dgm:spPr/>
    </dgm:pt>
    <dgm:pt modelId="{C32E7526-4A9C-46B7-82E3-49A4A7990B8B}" type="pres">
      <dgm:prSet presAssocID="{E26948E8-4596-4B64-B6B3-AC208AA6EA68}" presName="thickLine" presStyleLbl="alignNode1" presStyleIdx="1" presStyleCnt="9"/>
      <dgm:spPr/>
    </dgm:pt>
    <dgm:pt modelId="{F3EECEDF-F458-4ACE-8670-1DF88253F93D}" type="pres">
      <dgm:prSet presAssocID="{E26948E8-4596-4B64-B6B3-AC208AA6EA68}" presName="horz1" presStyleCnt="0"/>
      <dgm:spPr/>
    </dgm:pt>
    <dgm:pt modelId="{3ED38797-15F7-4083-B6C1-EE07475D5E22}" type="pres">
      <dgm:prSet presAssocID="{E26948E8-4596-4B64-B6B3-AC208AA6EA68}" presName="tx1" presStyleLbl="revTx" presStyleIdx="1" presStyleCnt="9"/>
      <dgm:spPr/>
    </dgm:pt>
    <dgm:pt modelId="{EA44C1F6-DE48-4FEB-9CC8-0E710171E03C}" type="pres">
      <dgm:prSet presAssocID="{E26948E8-4596-4B64-B6B3-AC208AA6EA68}" presName="vert1" presStyleCnt="0"/>
      <dgm:spPr/>
    </dgm:pt>
    <dgm:pt modelId="{3D2E1CDC-F325-46B6-8E2E-1B98CC2D0393}" type="pres">
      <dgm:prSet presAssocID="{7FB0FB1B-BF3D-437A-9F76-509067586240}" presName="thickLine" presStyleLbl="alignNode1" presStyleIdx="2" presStyleCnt="9"/>
      <dgm:spPr/>
    </dgm:pt>
    <dgm:pt modelId="{2AD57897-C490-4788-AE00-0CBB21E13D4F}" type="pres">
      <dgm:prSet presAssocID="{7FB0FB1B-BF3D-437A-9F76-509067586240}" presName="horz1" presStyleCnt="0"/>
      <dgm:spPr/>
    </dgm:pt>
    <dgm:pt modelId="{EEB67939-BAC5-4EEF-B7AD-7E2AC6F0C6F2}" type="pres">
      <dgm:prSet presAssocID="{7FB0FB1B-BF3D-437A-9F76-509067586240}" presName="tx1" presStyleLbl="revTx" presStyleIdx="2" presStyleCnt="9"/>
      <dgm:spPr/>
    </dgm:pt>
    <dgm:pt modelId="{26105F7D-A4C7-4516-A6DB-00F071F08C91}" type="pres">
      <dgm:prSet presAssocID="{7FB0FB1B-BF3D-437A-9F76-509067586240}" presName="vert1" presStyleCnt="0"/>
      <dgm:spPr/>
    </dgm:pt>
    <dgm:pt modelId="{D25D2103-E904-461E-B9AF-EDA1727F33A1}" type="pres">
      <dgm:prSet presAssocID="{8BE5AB21-EE59-4B1F-8274-74862331BB64}" presName="thickLine" presStyleLbl="alignNode1" presStyleIdx="3" presStyleCnt="9"/>
      <dgm:spPr/>
    </dgm:pt>
    <dgm:pt modelId="{AFFA0A73-13E0-4F24-9B3B-8B9F70FD4AE4}" type="pres">
      <dgm:prSet presAssocID="{8BE5AB21-EE59-4B1F-8274-74862331BB64}" presName="horz1" presStyleCnt="0"/>
      <dgm:spPr/>
    </dgm:pt>
    <dgm:pt modelId="{10310D7F-E39D-4F40-815A-CCA658EE1218}" type="pres">
      <dgm:prSet presAssocID="{8BE5AB21-EE59-4B1F-8274-74862331BB64}" presName="tx1" presStyleLbl="revTx" presStyleIdx="3" presStyleCnt="9"/>
      <dgm:spPr/>
    </dgm:pt>
    <dgm:pt modelId="{D6A50F28-34B8-494D-AEAA-0AB9BB586AF4}" type="pres">
      <dgm:prSet presAssocID="{8BE5AB21-EE59-4B1F-8274-74862331BB64}" presName="vert1" presStyleCnt="0"/>
      <dgm:spPr/>
    </dgm:pt>
    <dgm:pt modelId="{B542FA6E-9267-4158-9E1B-C8012E7D6CC7}" type="pres">
      <dgm:prSet presAssocID="{BCDAFB84-7792-47D1-9293-750DC34127EC}" presName="thickLine" presStyleLbl="alignNode1" presStyleIdx="4" presStyleCnt="9"/>
      <dgm:spPr/>
    </dgm:pt>
    <dgm:pt modelId="{60AC36FA-4ED8-487E-A395-14112E5D7918}" type="pres">
      <dgm:prSet presAssocID="{BCDAFB84-7792-47D1-9293-750DC34127EC}" presName="horz1" presStyleCnt="0"/>
      <dgm:spPr/>
    </dgm:pt>
    <dgm:pt modelId="{E7C7CDAD-E242-4319-9DAD-F3A18ECE1C7B}" type="pres">
      <dgm:prSet presAssocID="{BCDAFB84-7792-47D1-9293-750DC34127EC}" presName="tx1" presStyleLbl="revTx" presStyleIdx="4" presStyleCnt="9"/>
      <dgm:spPr/>
    </dgm:pt>
    <dgm:pt modelId="{D5668F12-F469-4FE4-8FBE-89EF82FE3406}" type="pres">
      <dgm:prSet presAssocID="{BCDAFB84-7792-47D1-9293-750DC34127EC}" presName="vert1" presStyleCnt="0"/>
      <dgm:spPr/>
    </dgm:pt>
    <dgm:pt modelId="{84A46056-B062-45AD-BD39-2EA5DA951FC1}" type="pres">
      <dgm:prSet presAssocID="{50543C17-48F7-45C5-8C16-362037290A7E}" presName="thickLine" presStyleLbl="alignNode1" presStyleIdx="5" presStyleCnt="9"/>
      <dgm:spPr/>
    </dgm:pt>
    <dgm:pt modelId="{12997F04-6C42-4F2F-BC85-E64CE10D7710}" type="pres">
      <dgm:prSet presAssocID="{50543C17-48F7-45C5-8C16-362037290A7E}" presName="horz1" presStyleCnt="0"/>
      <dgm:spPr/>
    </dgm:pt>
    <dgm:pt modelId="{20F03111-A8F7-4266-805D-9436293C450B}" type="pres">
      <dgm:prSet presAssocID="{50543C17-48F7-45C5-8C16-362037290A7E}" presName="tx1" presStyleLbl="revTx" presStyleIdx="5" presStyleCnt="9"/>
      <dgm:spPr/>
    </dgm:pt>
    <dgm:pt modelId="{5D46819F-843F-4BE3-9FC7-A5A3555E20CD}" type="pres">
      <dgm:prSet presAssocID="{50543C17-48F7-45C5-8C16-362037290A7E}" presName="vert1" presStyleCnt="0"/>
      <dgm:spPr/>
    </dgm:pt>
    <dgm:pt modelId="{CFDF97E2-4BC4-46CC-8608-3812EB9B1B2E}" type="pres">
      <dgm:prSet presAssocID="{1F9EE137-8EEC-418B-9518-4A040AE042BD}" presName="thickLine" presStyleLbl="alignNode1" presStyleIdx="6" presStyleCnt="9"/>
      <dgm:spPr/>
    </dgm:pt>
    <dgm:pt modelId="{B5A282A3-62D7-41FD-828C-5753DDAF63F1}" type="pres">
      <dgm:prSet presAssocID="{1F9EE137-8EEC-418B-9518-4A040AE042BD}" presName="horz1" presStyleCnt="0"/>
      <dgm:spPr/>
    </dgm:pt>
    <dgm:pt modelId="{721E262A-B16F-4B7A-B4FF-F518BF705A33}" type="pres">
      <dgm:prSet presAssocID="{1F9EE137-8EEC-418B-9518-4A040AE042BD}" presName="tx1" presStyleLbl="revTx" presStyleIdx="6" presStyleCnt="9"/>
      <dgm:spPr/>
    </dgm:pt>
    <dgm:pt modelId="{E0B2851B-D0ED-4A26-AE93-EED2DADFFB1A}" type="pres">
      <dgm:prSet presAssocID="{1F9EE137-8EEC-418B-9518-4A040AE042BD}" presName="vert1" presStyleCnt="0"/>
      <dgm:spPr/>
    </dgm:pt>
    <dgm:pt modelId="{53F5E5F0-33F7-4656-9E93-31A1BEB62276}" type="pres">
      <dgm:prSet presAssocID="{D667C9A2-8590-4750-9288-6784D438783F}" presName="thickLine" presStyleLbl="alignNode1" presStyleIdx="7" presStyleCnt="9"/>
      <dgm:spPr/>
    </dgm:pt>
    <dgm:pt modelId="{6083C17A-BF60-48F9-AF81-B0A045800483}" type="pres">
      <dgm:prSet presAssocID="{D667C9A2-8590-4750-9288-6784D438783F}" presName="horz1" presStyleCnt="0"/>
      <dgm:spPr/>
    </dgm:pt>
    <dgm:pt modelId="{96FB9994-82D3-45FD-992D-EBCCC28F7571}" type="pres">
      <dgm:prSet presAssocID="{D667C9A2-8590-4750-9288-6784D438783F}" presName="tx1" presStyleLbl="revTx" presStyleIdx="7" presStyleCnt="9"/>
      <dgm:spPr/>
    </dgm:pt>
    <dgm:pt modelId="{D32BF896-916C-443F-9093-7532108734FB}" type="pres">
      <dgm:prSet presAssocID="{D667C9A2-8590-4750-9288-6784D438783F}" presName="vert1" presStyleCnt="0"/>
      <dgm:spPr/>
    </dgm:pt>
    <dgm:pt modelId="{3A87A91B-BDB8-4DC9-A43E-F286195BED51}" type="pres">
      <dgm:prSet presAssocID="{FE2D2D2D-B347-4E82-9C77-A95389CACD47}" presName="thickLine" presStyleLbl="alignNode1" presStyleIdx="8" presStyleCnt="9"/>
      <dgm:spPr/>
    </dgm:pt>
    <dgm:pt modelId="{125AAD29-551B-48D6-9A69-01E9E085DFDC}" type="pres">
      <dgm:prSet presAssocID="{FE2D2D2D-B347-4E82-9C77-A95389CACD47}" presName="horz1" presStyleCnt="0"/>
      <dgm:spPr/>
    </dgm:pt>
    <dgm:pt modelId="{CA1D3F64-DACC-4641-916B-7C6FC1618CAD}" type="pres">
      <dgm:prSet presAssocID="{FE2D2D2D-B347-4E82-9C77-A95389CACD47}" presName="tx1" presStyleLbl="revTx" presStyleIdx="8" presStyleCnt="9"/>
      <dgm:spPr/>
    </dgm:pt>
    <dgm:pt modelId="{7DCD7F1B-C371-4203-B43D-C8527FADF23F}" type="pres">
      <dgm:prSet presAssocID="{FE2D2D2D-B347-4E82-9C77-A95389CACD47}" presName="vert1" presStyleCnt="0"/>
      <dgm:spPr/>
    </dgm:pt>
  </dgm:ptLst>
  <dgm:cxnLst>
    <dgm:cxn modelId="{EDCBD403-C3D6-404C-85C3-50088F8E59F7}" srcId="{710D9CE5-03EB-4A90-8B63-2EB3C566FD3E}" destId="{BCDAFB84-7792-47D1-9293-750DC34127EC}" srcOrd="4" destOrd="0" parTransId="{D6E4A77A-814E-48A9-A011-B25F725E3B4B}" sibTransId="{CF01CD71-08DC-4311-97E6-8DC0BF87C9A1}"/>
    <dgm:cxn modelId="{EEAF4613-A2BE-419F-8767-1BE8821CD3A5}" srcId="{710D9CE5-03EB-4A90-8B63-2EB3C566FD3E}" destId="{C9E8D7D3-149D-4A20-ABD5-EC50E94E028E}" srcOrd="0" destOrd="0" parTransId="{422E7883-24CA-4DF4-8E7F-4E9DCAC4BA2C}" sibTransId="{85FEE4B3-C51F-4A58-B128-706C952745A3}"/>
    <dgm:cxn modelId="{9F3C4217-4B24-472B-93CE-BBFE6998980D}" type="presOf" srcId="{D667C9A2-8590-4750-9288-6784D438783F}" destId="{96FB9994-82D3-45FD-992D-EBCCC28F7571}" srcOrd="0" destOrd="0" presId="urn:microsoft.com/office/officeart/2008/layout/LinedList"/>
    <dgm:cxn modelId="{CAA49141-2277-44ED-807F-E71964DC51AA}" type="presOf" srcId="{C9E8D7D3-149D-4A20-ABD5-EC50E94E028E}" destId="{16181500-B856-4B1E-813C-F038F51D9D54}" srcOrd="0" destOrd="0" presId="urn:microsoft.com/office/officeart/2008/layout/LinedList"/>
    <dgm:cxn modelId="{2A7A1454-FD57-4143-A987-865A5EC50776}" srcId="{710D9CE5-03EB-4A90-8B63-2EB3C566FD3E}" destId="{D667C9A2-8590-4750-9288-6784D438783F}" srcOrd="7" destOrd="0" parTransId="{D6021A69-ECA5-44F0-BC76-ABFD94C0B4A3}" sibTransId="{4FF940AA-5F4D-4FEF-912F-601CF547A90E}"/>
    <dgm:cxn modelId="{03891B73-42E7-4A93-9940-FCBB24015D1B}" type="presOf" srcId="{8BE5AB21-EE59-4B1F-8274-74862331BB64}" destId="{10310D7F-E39D-4F40-815A-CCA658EE1218}" srcOrd="0" destOrd="0" presId="urn:microsoft.com/office/officeart/2008/layout/LinedList"/>
    <dgm:cxn modelId="{0B1CC488-CA55-4A0C-AD51-006E83EB2606}" type="presOf" srcId="{710D9CE5-03EB-4A90-8B63-2EB3C566FD3E}" destId="{79BD2240-0F02-407B-9990-B3A7F00338F4}" srcOrd="0" destOrd="0" presId="urn:microsoft.com/office/officeart/2008/layout/LinedList"/>
    <dgm:cxn modelId="{F6979C8C-19E3-4596-9FFA-E34F99B11BCB}" type="presOf" srcId="{BCDAFB84-7792-47D1-9293-750DC34127EC}" destId="{E7C7CDAD-E242-4319-9DAD-F3A18ECE1C7B}" srcOrd="0" destOrd="0" presId="urn:microsoft.com/office/officeart/2008/layout/LinedList"/>
    <dgm:cxn modelId="{C2273893-570B-45C7-B15E-50BFBED92879}" type="presOf" srcId="{50543C17-48F7-45C5-8C16-362037290A7E}" destId="{20F03111-A8F7-4266-805D-9436293C450B}" srcOrd="0" destOrd="0" presId="urn:microsoft.com/office/officeart/2008/layout/LinedList"/>
    <dgm:cxn modelId="{B6A805A1-DF01-4917-BF8F-DE8CE56373C5}" srcId="{710D9CE5-03EB-4A90-8B63-2EB3C566FD3E}" destId="{E26948E8-4596-4B64-B6B3-AC208AA6EA68}" srcOrd="1" destOrd="0" parTransId="{C4263E36-C3B9-4335-976F-11AADBC0210A}" sibTransId="{5CEDA2CC-A1DA-4824-ABF6-B8A090C32268}"/>
    <dgm:cxn modelId="{389684AB-B92E-496D-B3FE-5B405FE5C0BE}" srcId="{710D9CE5-03EB-4A90-8B63-2EB3C566FD3E}" destId="{50543C17-48F7-45C5-8C16-362037290A7E}" srcOrd="5" destOrd="0" parTransId="{A0BC84ED-8C07-4BF1-877F-6808B415CC72}" sibTransId="{55A6C680-95BB-41FE-BE77-242F453738C1}"/>
    <dgm:cxn modelId="{D523FBAE-374B-47A5-AABB-1D5904AB674A}" type="presOf" srcId="{E26948E8-4596-4B64-B6B3-AC208AA6EA68}" destId="{3ED38797-15F7-4083-B6C1-EE07475D5E22}" srcOrd="0" destOrd="0" presId="urn:microsoft.com/office/officeart/2008/layout/LinedList"/>
    <dgm:cxn modelId="{E36F5CBA-4CC9-4F8E-9894-F142BB85DD2F}" srcId="{710D9CE5-03EB-4A90-8B63-2EB3C566FD3E}" destId="{FE2D2D2D-B347-4E82-9C77-A95389CACD47}" srcOrd="8" destOrd="0" parTransId="{BB4C9DE4-69C0-4FF1-88BD-5AB26A7B6835}" sibTransId="{21185E0B-35F2-4E5F-874E-3B5BA004E981}"/>
    <dgm:cxn modelId="{9318F3BC-4F32-4717-947E-AE36763CAAED}" srcId="{710D9CE5-03EB-4A90-8B63-2EB3C566FD3E}" destId="{1F9EE137-8EEC-418B-9518-4A040AE042BD}" srcOrd="6" destOrd="0" parTransId="{B416B829-4BF9-461B-BAA2-DF002B4CB249}" sibTransId="{2F347E52-E3C5-4CE5-9F06-A754D92B7360}"/>
    <dgm:cxn modelId="{B81422C1-6A03-4BEB-A414-015891E062E7}" srcId="{710D9CE5-03EB-4A90-8B63-2EB3C566FD3E}" destId="{7FB0FB1B-BF3D-437A-9F76-509067586240}" srcOrd="2" destOrd="0" parTransId="{FD52C28B-162A-4872-8955-C3A7BB3F27A2}" sibTransId="{1887F4D7-C3B3-40D0-AB58-84C6C1FA4040}"/>
    <dgm:cxn modelId="{015C50E7-3E78-441C-97C5-0BFE5F3ABAC2}" srcId="{710D9CE5-03EB-4A90-8B63-2EB3C566FD3E}" destId="{8BE5AB21-EE59-4B1F-8274-74862331BB64}" srcOrd="3" destOrd="0" parTransId="{9E7CB4D9-8BCA-4142-81B1-789EF49B75A3}" sibTransId="{33CD5586-1F44-4A1B-B889-AE75D58E4470}"/>
    <dgm:cxn modelId="{8EDEF5E8-ED0D-48B1-90D0-C231AF760BF0}" type="presOf" srcId="{1F9EE137-8EEC-418B-9518-4A040AE042BD}" destId="{721E262A-B16F-4B7A-B4FF-F518BF705A33}" srcOrd="0" destOrd="0" presId="urn:microsoft.com/office/officeart/2008/layout/LinedList"/>
    <dgm:cxn modelId="{0B42D1EE-E424-456A-BCFB-A32976BCA74D}" type="presOf" srcId="{FE2D2D2D-B347-4E82-9C77-A95389CACD47}" destId="{CA1D3F64-DACC-4641-916B-7C6FC1618CAD}" srcOrd="0" destOrd="0" presId="urn:microsoft.com/office/officeart/2008/layout/LinedList"/>
    <dgm:cxn modelId="{B68E6CF1-80D5-49CB-829F-FCDAC9497401}" type="presOf" srcId="{7FB0FB1B-BF3D-437A-9F76-509067586240}" destId="{EEB67939-BAC5-4EEF-B7AD-7E2AC6F0C6F2}" srcOrd="0" destOrd="0" presId="urn:microsoft.com/office/officeart/2008/layout/LinedList"/>
    <dgm:cxn modelId="{3D82D807-DB1C-45BF-94AD-21EE7F61498C}" type="presParOf" srcId="{79BD2240-0F02-407B-9990-B3A7F00338F4}" destId="{36C5D7E1-3102-4647-B28F-108E124F109D}" srcOrd="0" destOrd="0" presId="urn:microsoft.com/office/officeart/2008/layout/LinedList"/>
    <dgm:cxn modelId="{8D9199CF-379D-4DF2-82DC-359BF8CAAC44}" type="presParOf" srcId="{79BD2240-0F02-407B-9990-B3A7F00338F4}" destId="{926D9845-815A-460F-91CA-91B0C961DC41}" srcOrd="1" destOrd="0" presId="urn:microsoft.com/office/officeart/2008/layout/LinedList"/>
    <dgm:cxn modelId="{65D6162E-F23E-4C59-90B9-8381B1843B00}" type="presParOf" srcId="{926D9845-815A-460F-91CA-91B0C961DC41}" destId="{16181500-B856-4B1E-813C-F038F51D9D54}" srcOrd="0" destOrd="0" presId="urn:microsoft.com/office/officeart/2008/layout/LinedList"/>
    <dgm:cxn modelId="{47B3A5EC-6747-40A5-8708-9B300CC41411}" type="presParOf" srcId="{926D9845-815A-460F-91CA-91B0C961DC41}" destId="{3E948304-553A-4B7D-8D41-F987644DA351}" srcOrd="1" destOrd="0" presId="urn:microsoft.com/office/officeart/2008/layout/LinedList"/>
    <dgm:cxn modelId="{6E671B59-F336-4490-AAFA-606DA072F976}" type="presParOf" srcId="{79BD2240-0F02-407B-9990-B3A7F00338F4}" destId="{C32E7526-4A9C-46B7-82E3-49A4A7990B8B}" srcOrd="2" destOrd="0" presId="urn:microsoft.com/office/officeart/2008/layout/LinedList"/>
    <dgm:cxn modelId="{4DE5E42D-74C9-4DCF-96A8-FE5EAC944B6C}" type="presParOf" srcId="{79BD2240-0F02-407B-9990-B3A7F00338F4}" destId="{F3EECEDF-F458-4ACE-8670-1DF88253F93D}" srcOrd="3" destOrd="0" presId="urn:microsoft.com/office/officeart/2008/layout/LinedList"/>
    <dgm:cxn modelId="{4BA125EB-6745-4605-8412-BE2FE1A43A77}" type="presParOf" srcId="{F3EECEDF-F458-4ACE-8670-1DF88253F93D}" destId="{3ED38797-15F7-4083-B6C1-EE07475D5E22}" srcOrd="0" destOrd="0" presId="urn:microsoft.com/office/officeart/2008/layout/LinedList"/>
    <dgm:cxn modelId="{BC1BFD39-5740-455E-9E86-59BEA4B482EF}" type="presParOf" srcId="{F3EECEDF-F458-4ACE-8670-1DF88253F93D}" destId="{EA44C1F6-DE48-4FEB-9CC8-0E710171E03C}" srcOrd="1" destOrd="0" presId="urn:microsoft.com/office/officeart/2008/layout/LinedList"/>
    <dgm:cxn modelId="{8842FF38-E80F-4B0B-8A0A-B74B338FF7D1}" type="presParOf" srcId="{79BD2240-0F02-407B-9990-B3A7F00338F4}" destId="{3D2E1CDC-F325-46B6-8E2E-1B98CC2D0393}" srcOrd="4" destOrd="0" presId="urn:microsoft.com/office/officeart/2008/layout/LinedList"/>
    <dgm:cxn modelId="{D44B1DB4-047F-4FE8-87A2-1D04E983A2C2}" type="presParOf" srcId="{79BD2240-0F02-407B-9990-B3A7F00338F4}" destId="{2AD57897-C490-4788-AE00-0CBB21E13D4F}" srcOrd="5" destOrd="0" presId="urn:microsoft.com/office/officeart/2008/layout/LinedList"/>
    <dgm:cxn modelId="{4720D963-CABE-4AA1-8986-66E99C1F86EF}" type="presParOf" srcId="{2AD57897-C490-4788-AE00-0CBB21E13D4F}" destId="{EEB67939-BAC5-4EEF-B7AD-7E2AC6F0C6F2}" srcOrd="0" destOrd="0" presId="urn:microsoft.com/office/officeart/2008/layout/LinedList"/>
    <dgm:cxn modelId="{5536EA7C-2407-4219-9921-682BBDB861A8}" type="presParOf" srcId="{2AD57897-C490-4788-AE00-0CBB21E13D4F}" destId="{26105F7D-A4C7-4516-A6DB-00F071F08C91}" srcOrd="1" destOrd="0" presId="urn:microsoft.com/office/officeart/2008/layout/LinedList"/>
    <dgm:cxn modelId="{4742396B-7F1F-404F-9193-9606CFCB9682}" type="presParOf" srcId="{79BD2240-0F02-407B-9990-B3A7F00338F4}" destId="{D25D2103-E904-461E-B9AF-EDA1727F33A1}" srcOrd="6" destOrd="0" presId="urn:microsoft.com/office/officeart/2008/layout/LinedList"/>
    <dgm:cxn modelId="{72522BE1-7805-43FC-9828-56E81BBB9343}" type="presParOf" srcId="{79BD2240-0F02-407B-9990-B3A7F00338F4}" destId="{AFFA0A73-13E0-4F24-9B3B-8B9F70FD4AE4}" srcOrd="7" destOrd="0" presId="urn:microsoft.com/office/officeart/2008/layout/LinedList"/>
    <dgm:cxn modelId="{C8CE249C-4001-4269-84B0-05D9A4BFE72C}" type="presParOf" srcId="{AFFA0A73-13E0-4F24-9B3B-8B9F70FD4AE4}" destId="{10310D7F-E39D-4F40-815A-CCA658EE1218}" srcOrd="0" destOrd="0" presId="urn:microsoft.com/office/officeart/2008/layout/LinedList"/>
    <dgm:cxn modelId="{FF704D77-1D25-4D51-A2D7-868DBB58CCC5}" type="presParOf" srcId="{AFFA0A73-13E0-4F24-9B3B-8B9F70FD4AE4}" destId="{D6A50F28-34B8-494D-AEAA-0AB9BB586AF4}" srcOrd="1" destOrd="0" presId="urn:microsoft.com/office/officeart/2008/layout/LinedList"/>
    <dgm:cxn modelId="{0B8971A0-D9FA-4F0C-94D0-65E9E2BA8349}" type="presParOf" srcId="{79BD2240-0F02-407B-9990-B3A7F00338F4}" destId="{B542FA6E-9267-4158-9E1B-C8012E7D6CC7}" srcOrd="8" destOrd="0" presId="urn:microsoft.com/office/officeart/2008/layout/LinedList"/>
    <dgm:cxn modelId="{5A3954CA-170A-474E-844C-28D53F43DB8C}" type="presParOf" srcId="{79BD2240-0F02-407B-9990-B3A7F00338F4}" destId="{60AC36FA-4ED8-487E-A395-14112E5D7918}" srcOrd="9" destOrd="0" presId="urn:microsoft.com/office/officeart/2008/layout/LinedList"/>
    <dgm:cxn modelId="{5D7DD45C-714A-40E2-9673-A669E75603F4}" type="presParOf" srcId="{60AC36FA-4ED8-487E-A395-14112E5D7918}" destId="{E7C7CDAD-E242-4319-9DAD-F3A18ECE1C7B}" srcOrd="0" destOrd="0" presId="urn:microsoft.com/office/officeart/2008/layout/LinedList"/>
    <dgm:cxn modelId="{BD20C8F7-A0B2-4911-9230-F301132E5CF8}" type="presParOf" srcId="{60AC36FA-4ED8-487E-A395-14112E5D7918}" destId="{D5668F12-F469-4FE4-8FBE-89EF82FE3406}" srcOrd="1" destOrd="0" presId="urn:microsoft.com/office/officeart/2008/layout/LinedList"/>
    <dgm:cxn modelId="{DC40D1CF-8F77-4AFE-A078-9B990E683C4D}" type="presParOf" srcId="{79BD2240-0F02-407B-9990-B3A7F00338F4}" destId="{84A46056-B062-45AD-BD39-2EA5DA951FC1}" srcOrd="10" destOrd="0" presId="urn:microsoft.com/office/officeart/2008/layout/LinedList"/>
    <dgm:cxn modelId="{05498229-1A69-4BD9-AB8A-A87010CF2829}" type="presParOf" srcId="{79BD2240-0F02-407B-9990-B3A7F00338F4}" destId="{12997F04-6C42-4F2F-BC85-E64CE10D7710}" srcOrd="11" destOrd="0" presId="urn:microsoft.com/office/officeart/2008/layout/LinedList"/>
    <dgm:cxn modelId="{5624C6C7-BDDD-44D6-8BC0-9F4933C7004E}" type="presParOf" srcId="{12997F04-6C42-4F2F-BC85-E64CE10D7710}" destId="{20F03111-A8F7-4266-805D-9436293C450B}" srcOrd="0" destOrd="0" presId="urn:microsoft.com/office/officeart/2008/layout/LinedList"/>
    <dgm:cxn modelId="{9B5000D5-77A8-4FB8-B96C-DCED7D1983AC}" type="presParOf" srcId="{12997F04-6C42-4F2F-BC85-E64CE10D7710}" destId="{5D46819F-843F-4BE3-9FC7-A5A3555E20CD}" srcOrd="1" destOrd="0" presId="urn:microsoft.com/office/officeart/2008/layout/LinedList"/>
    <dgm:cxn modelId="{2D4FB110-0798-4386-9BF4-2C996179E44C}" type="presParOf" srcId="{79BD2240-0F02-407B-9990-B3A7F00338F4}" destId="{CFDF97E2-4BC4-46CC-8608-3812EB9B1B2E}" srcOrd="12" destOrd="0" presId="urn:microsoft.com/office/officeart/2008/layout/LinedList"/>
    <dgm:cxn modelId="{8651194C-2982-4600-8A7D-3470D8ED9FB0}" type="presParOf" srcId="{79BD2240-0F02-407B-9990-B3A7F00338F4}" destId="{B5A282A3-62D7-41FD-828C-5753DDAF63F1}" srcOrd="13" destOrd="0" presId="urn:microsoft.com/office/officeart/2008/layout/LinedList"/>
    <dgm:cxn modelId="{B3117E97-F5BD-427B-982B-E3D8D0C34CD4}" type="presParOf" srcId="{B5A282A3-62D7-41FD-828C-5753DDAF63F1}" destId="{721E262A-B16F-4B7A-B4FF-F518BF705A33}" srcOrd="0" destOrd="0" presId="urn:microsoft.com/office/officeart/2008/layout/LinedList"/>
    <dgm:cxn modelId="{4E4F872C-EE49-418E-8D57-8CDFA9697DD0}" type="presParOf" srcId="{B5A282A3-62D7-41FD-828C-5753DDAF63F1}" destId="{E0B2851B-D0ED-4A26-AE93-EED2DADFFB1A}" srcOrd="1" destOrd="0" presId="urn:microsoft.com/office/officeart/2008/layout/LinedList"/>
    <dgm:cxn modelId="{40EE6553-D776-4092-8485-71BCF3597366}" type="presParOf" srcId="{79BD2240-0F02-407B-9990-B3A7F00338F4}" destId="{53F5E5F0-33F7-4656-9E93-31A1BEB62276}" srcOrd="14" destOrd="0" presId="urn:microsoft.com/office/officeart/2008/layout/LinedList"/>
    <dgm:cxn modelId="{8F64DEBE-4419-4382-AE39-DA3B571197D6}" type="presParOf" srcId="{79BD2240-0F02-407B-9990-B3A7F00338F4}" destId="{6083C17A-BF60-48F9-AF81-B0A045800483}" srcOrd="15" destOrd="0" presId="urn:microsoft.com/office/officeart/2008/layout/LinedList"/>
    <dgm:cxn modelId="{809480A3-3124-47A8-BD0A-7FDB77629455}" type="presParOf" srcId="{6083C17A-BF60-48F9-AF81-B0A045800483}" destId="{96FB9994-82D3-45FD-992D-EBCCC28F7571}" srcOrd="0" destOrd="0" presId="urn:microsoft.com/office/officeart/2008/layout/LinedList"/>
    <dgm:cxn modelId="{63C8CAD8-D4FD-4CBF-B392-8F285EF5B6FC}" type="presParOf" srcId="{6083C17A-BF60-48F9-AF81-B0A045800483}" destId="{D32BF896-916C-443F-9093-7532108734FB}" srcOrd="1" destOrd="0" presId="urn:microsoft.com/office/officeart/2008/layout/LinedList"/>
    <dgm:cxn modelId="{979408A2-0177-436A-A64C-60C9F1D95C1D}" type="presParOf" srcId="{79BD2240-0F02-407B-9990-B3A7F00338F4}" destId="{3A87A91B-BDB8-4DC9-A43E-F286195BED51}" srcOrd="16" destOrd="0" presId="urn:microsoft.com/office/officeart/2008/layout/LinedList"/>
    <dgm:cxn modelId="{F670AC9A-990B-4BD7-8B30-511E0BB5DC60}" type="presParOf" srcId="{79BD2240-0F02-407B-9990-B3A7F00338F4}" destId="{125AAD29-551B-48D6-9A69-01E9E085DFDC}" srcOrd="17" destOrd="0" presId="urn:microsoft.com/office/officeart/2008/layout/LinedList"/>
    <dgm:cxn modelId="{85FB2E2A-EF65-4E6C-BFC6-C972EDFCF51D}" type="presParOf" srcId="{125AAD29-551B-48D6-9A69-01E9E085DFDC}" destId="{CA1D3F64-DACC-4641-916B-7C6FC1618CAD}" srcOrd="0" destOrd="0" presId="urn:microsoft.com/office/officeart/2008/layout/LinedList"/>
    <dgm:cxn modelId="{26976606-4782-49CC-A74C-82274FDFD2ED}" type="presParOf" srcId="{125AAD29-551B-48D6-9A69-01E9E085DFDC}" destId="{7DCD7F1B-C371-4203-B43D-C8527FADF23F}"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698D327-5CFE-48BC-88E8-68DDF8B6481A}" type="doc">
      <dgm:prSet loTypeId="urn:microsoft.com/office/officeart/2018/2/layout/IconLabelList" loCatId="icon" qsTypeId="urn:microsoft.com/office/officeart/2005/8/quickstyle/simple1" qsCatId="simple" csTypeId="urn:microsoft.com/office/officeart/2018/5/colors/Iconchunking_neutralbg_accent1_2" csCatId="accent1" phldr="1"/>
      <dgm:spPr/>
      <dgm:t>
        <a:bodyPr/>
        <a:lstStyle/>
        <a:p>
          <a:endParaRPr lang="en-US"/>
        </a:p>
      </dgm:t>
    </dgm:pt>
    <dgm:pt modelId="{D978ACD1-4B26-4645-8F13-A45D154D5084}">
      <dgm:prSet/>
      <dgm:spPr/>
      <dgm:t>
        <a:bodyPr/>
        <a:lstStyle/>
        <a:p>
          <a:r>
            <a:rPr lang="en-US"/>
            <a:t>Increased Remote Support Capabilities</a:t>
          </a:r>
        </a:p>
      </dgm:t>
    </dgm:pt>
    <dgm:pt modelId="{D89A1A53-7053-4530-A300-C2CA5C0EF2ED}" type="parTrans" cxnId="{B0678534-373D-48A8-9396-84C07DAFB6CB}">
      <dgm:prSet/>
      <dgm:spPr/>
      <dgm:t>
        <a:bodyPr/>
        <a:lstStyle/>
        <a:p>
          <a:endParaRPr lang="en-US"/>
        </a:p>
      </dgm:t>
    </dgm:pt>
    <dgm:pt modelId="{D2FFA864-7DE5-4A56-B937-13340C4592F7}" type="sibTrans" cxnId="{B0678534-373D-48A8-9396-84C07DAFB6CB}">
      <dgm:prSet/>
      <dgm:spPr/>
      <dgm:t>
        <a:bodyPr/>
        <a:lstStyle/>
        <a:p>
          <a:endParaRPr lang="en-US"/>
        </a:p>
      </dgm:t>
    </dgm:pt>
    <dgm:pt modelId="{201BBB6A-AA20-4A82-A736-CDAA70D9A4A7}">
      <dgm:prSet/>
      <dgm:spPr/>
      <dgm:t>
        <a:bodyPr/>
        <a:lstStyle/>
        <a:p>
          <a:r>
            <a:rPr lang="en-US"/>
            <a:t>Medication Management Systems</a:t>
          </a:r>
        </a:p>
      </dgm:t>
    </dgm:pt>
    <dgm:pt modelId="{6B0C5DB0-A019-4750-8298-BE9C1F3DBFF2}" type="parTrans" cxnId="{848767A7-AE03-42D9-8637-24A94BAC7419}">
      <dgm:prSet/>
      <dgm:spPr/>
      <dgm:t>
        <a:bodyPr/>
        <a:lstStyle/>
        <a:p>
          <a:endParaRPr lang="en-US"/>
        </a:p>
      </dgm:t>
    </dgm:pt>
    <dgm:pt modelId="{03A250B7-95F2-4BF4-8911-52B399BDC811}" type="sibTrans" cxnId="{848767A7-AE03-42D9-8637-24A94BAC7419}">
      <dgm:prSet/>
      <dgm:spPr/>
      <dgm:t>
        <a:bodyPr/>
        <a:lstStyle/>
        <a:p>
          <a:endParaRPr lang="en-US"/>
        </a:p>
      </dgm:t>
    </dgm:pt>
    <dgm:pt modelId="{627F8641-779B-45A5-A5A4-0577FB030993}">
      <dgm:prSet/>
      <dgm:spPr/>
      <dgm:t>
        <a:bodyPr/>
        <a:lstStyle/>
        <a:p>
          <a:r>
            <a:rPr lang="en-US"/>
            <a:t>Biometric Health Monitoring to address Fatal 5</a:t>
          </a:r>
        </a:p>
      </dgm:t>
    </dgm:pt>
    <dgm:pt modelId="{095D0709-9557-4864-8533-7FC55FCE0F33}" type="parTrans" cxnId="{DA421B88-0999-44F0-8D62-B127D069AACA}">
      <dgm:prSet/>
      <dgm:spPr/>
      <dgm:t>
        <a:bodyPr/>
        <a:lstStyle/>
        <a:p>
          <a:endParaRPr lang="en-US"/>
        </a:p>
      </dgm:t>
    </dgm:pt>
    <dgm:pt modelId="{FCED8B2D-3D3C-4753-828A-2BD52D16A98D}" type="sibTrans" cxnId="{DA421B88-0999-44F0-8D62-B127D069AACA}">
      <dgm:prSet/>
      <dgm:spPr/>
      <dgm:t>
        <a:bodyPr/>
        <a:lstStyle/>
        <a:p>
          <a:endParaRPr lang="en-US"/>
        </a:p>
      </dgm:t>
    </dgm:pt>
    <dgm:pt modelId="{358ACC93-4AAF-46D2-AB7D-5731F3438145}">
      <dgm:prSet/>
      <dgm:spPr/>
      <dgm:t>
        <a:bodyPr/>
        <a:lstStyle/>
        <a:p>
          <a:r>
            <a:rPr lang="en-US"/>
            <a:t>Automated documentation</a:t>
          </a:r>
        </a:p>
      </dgm:t>
    </dgm:pt>
    <dgm:pt modelId="{78B515A9-6662-4C5F-B174-B8D15DA0E908}" type="parTrans" cxnId="{8035C12B-1EE8-414E-ACF0-FC19D0FA44F7}">
      <dgm:prSet/>
      <dgm:spPr/>
      <dgm:t>
        <a:bodyPr/>
        <a:lstStyle/>
        <a:p>
          <a:endParaRPr lang="en-US"/>
        </a:p>
      </dgm:t>
    </dgm:pt>
    <dgm:pt modelId="{FD377567-943C-4A17-A1F8-6D6215B8FA9A}" type="sibTrans" cxnId="{8035C12B-1EE8-414E-ACF0-FC19D0FA44F7}">
      <dgm:prSet/>
      <dgm:spPr/>
      <dgm:t>
        <a:bodyPr/>
        <a:lstStyle/>
        <a:p>
          <a:endParaRPr lang="en-US"/>
        </a:p>
      </dgm:t>
    </dgm:pt>
    <dgm:pt modelId="{88302FA3-4B38-4DE9-AF39-B87B079AA41F}" type="pres">
      <dgm:prSet presAssocID="{F698D327-5CFE-48BC-88E8-68DDF8B6481A}" presName="root" presStyleCnt="0">
        <dgm:presLayoutVars>
          <dgm:dir/>
          <dgm:resizeHandles val="exact"/>
        </dgm:presLayoutVars>
      </dgm:prSet>
      <dgm:spPr/>
    </dgm:pt>
    <dgm:pt modelId="{7582F32E-84B6-4D08-B550-3C0900893525}" type="pres">
      <dgm:prSet presAssocID="{D978ACD1-4B26-4645-8F13-A45D154D5084}" presName="compNode" presStyleCnt="0"/>
      <dgm:spPr/>
    </dgm:pt>
    <dgm:pt modelId="{0FE579EC-6757-431A-B349-F79389F0E925}" type="pres">
      <dgm:prSet presAssocID="{D978ACD1-4B26-4645-8F13-A45D154D5084}"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all center"/>
        </a:ext>
      </dgm:extLst>
    </dgm:pt>
    <dgm:pt modelId="{F7010687-7DB1-4C14-84F6-1432A64D2E89}" type="pres">
      <dgm:prSet presAssocID="{D978ACD1-4B26-4645-8F13-A45D154D5084}" presName="spaceRect" presStyleCnt="0"/>
      <dgm:spPr/>
    </dgm:pt>
    <dgm:pt modelId="{73197B51-33EF-47F1-A2A6-B77C193F208E}" type="pres">
      <dgm:prSet presAssocID="{D978ACD1-4B26-4645-8F13-A45D154D5084}" presName="textRect" presStyleLbl="revTx" presStyleIdx="0" presStyleCnt="4">
        <dgm:presLayoutVars>
          <dgm:chMax val="1"/>
          <dgm:chPref val="1"/>
        </dgm:presLayoutVars>
      </dgm:prSet>
      <dgm:spPr/>
    </dgm:pt>
    <dgm:pt modelId="{F162C276-F674-48A0-B636-AAC8C25CDF0D}" type="pres">
      <dgm:prSet presAssocID="{D2FFA864-7DE5-4A56-B937-13340C4592F7}" presName="sibTrans" presStyleCnt="0"/>
      <dgm:spPr/>
    </dgm:pt>
    <dgm:pt modelId="{3042B5E0-4271-427C-928C-42670CE61D00}" type="pres">
      <dgm:prSet presAssocID="{201BBB6A-AA20-4A82-A736-CDAA70D9A4A7}" presName="compNode" presStyleCnt="0"/>
      <dgm:spPr/>
    </dgm:pt>
    <dgm:pt modelId="{C4369F07-946A-4A22-B525-8B7678762830}" type="pres">
      <dgm:prSet presAssocID="{201BBB6A-AA20-4A82-A736-CDAA70D9A4A7}"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Medicine"/>
        </a:ext>
      </dgm:extLst>
    </dgm:pt>
    <dgm:pt modelId="{78BD0A82-953A-4AAB-A219-077315EC0939}" type="pres">
      <dgm:prSet presAssocID="{201BBB6A-AA20-4A82-A736-CDAA70D9A4A7}" presName="spaceRect" presStyleCnt="0"/>
      <dgm:spPr/>
    </dgm:pt>
    <dgm:pt modelId="{05D971A9-E3FA-4980-B54B-989F50825D8B}" type="pres">
      <dgm:prSet presAssocID="{201BBB6A-AA20-4A82-A736-CDAA70D9A4A7}" presName="textRect" presStyleLbl="revTx" presStyleIdx="1" presStyleCnt="4">
        <dgm:presLayoutVars>
          <dgm:chMax val="1"/>
          <dgm:chPref val="1"/>
        </dgm:presLayoutVars>
      </dgm:prSet>
      <dgm:spPr/>
    </dgm:pt>
    <dgm:pt modelId="{3AED78A7-DE88-4743-89DC-74F832ADF63F}" type="pres">
      <dgm:prSet presAssocID="{03A250B7-95F2-4BF4-8911-52B399BDC811}" presName="sibTrans" presStyleCnt="0"/>
      <dgm:spPr/>
    </dgm:pt>
    <dgm:pt modelId="{449A6B9F-C54B-4F40-A434-B9652694C336}" type="pres">
      <dgm:prSet presAssocID="{627F8641-779B-45A5-A5A4-0577FB030993}" presName="compNode" presStyleCnt="0"/>
      <dgm:spPr/>
    </dgm:pt>
    <dgm:pt modelId="{2954243B-562C-4B6B-9797-D1C52E3D294C}" type="pres">
      <dgm:prSet presAssocID="{627F8641-779B-45A5-A5A4-0577FB030993}"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eartbeat"/>
        </a:ext>
      </dgm:extLst>
    </dgm:pt>
    <dgm:pt modelId="{29497F05-0566-493B-B437-A6542E5C3DF7}" type="pres">
      <dgm:prSet presAssocID="{627F8641-779B-45A5-A5A4-0577FB030993}" presName="spaceRect" presStyleCnt="0"/>
      <dgm:spPr/>
    </dgm:pt>
    <dgm:pt modelId="{1A8E7BB0-C396-4630-87B4-30DA30C39215}" type="pres">
      <dgm:prSet presAssocID="{627F8641-779B-45A5-A5A4-0577FB030993}" presName="textRect" presStyleLbl="revTx" presStyleIdx="2" presStyleCnt="4">
        <dgm:presLayoutVars>
          <dgm:chMax val="1"/>
          <dgm:chPref val="1"/>
        </dgm:presLayoutVars>
      </dgm:prSet>
      <dgm:spPr/>
    </dgm:pt>
    <dgm:pt modelId="{4C84FBDB-6C3D-4B58-9342-886F8429FF05}" type="pres">
      <dgm:prSet presAssocID="{FCED8B2D-3D3C-4753-828A-2BD52D16A98D}" presName="sibTrans" presStyleCnt="0"/>
      <dgm:spPr/>
    </dgm:pt>
    <dgm:pt modelId="{D3E0793E-36C9-4B1E-A340-BAC381C670F7}" type="pres">
      <dgm:prSet presAssocID="{358ACC93-4AAF-46D2-AB7D-5731F3438145}" presName="compNode" presStyleCnt="0"/>
      <dgm:spPr/>
    </dgm:pt>
    <dgm:pt modelId="{D354A078-4D7F-474B-BC60-0F493D2DBF71}" type="pres">
      <dgm:prSet presAssocID="{358ACC93-4AAF-46D2-AB7D-5731F3438145}"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ocument"/>
        </a:ext>
      </dgm:extLst>
    </dgm:pt>
    <dgm:pt modelId="{518010D6-66CD-411E-B61F-7D1CB71F7CEA}" type="pres">
      <dgm:prSet presAssocID="{358ACC93-4AAF-46D2-AB7D-5731F3438145}" presName="spaceRect" presStyleCnt="0"/>
      <dgm:spPr/>
    </dgm:pt>
    <dgm:pt modelId="{7D814079-005B-4715-9864-284F98D41CF3}" type="pres">
      <dgm:prSet presAssocID="{358ACC93-4AAF-46D2-AB7D-5731F3438145}" presName="textRect" presStyleLbl="revTx" presStyleIdx="3" presStyleCnt="4">
        <dgm:presLayoutVars>
          <dgm:chMax val="1"/>
          <dgm:chPref val="1"/>
        </dgm:presLayoutVars>
      </dgm:prSet>
      <dgm:spPr/>
    </dgm:pt>
  </dgm:ptLst>
  <dgm:cxnLst>
    <dgm:cxn modelId="{8035C12B-1EE8-414E-ACF0-FC19D0FA44F7}" srcId="{F698D327-5CFE-48BC-88E8-68DDF8B6481A}" destId="{358ACC93-4AAF-46D2-AB7D-5731F3438145}" srcOrd="3" destOrd="0" parTransId="{78B515A9-6662-4C5F-B174-B8D15DA0E908}" sibTransId="{FD377567-943C-4A17-A1F8-6D6215B8FA9A}"/>
    <dgm:cxn modelId="{B0678534-373D-48A8-9396-84C07DAFB6CB}" srcId="{F698D327-5CFE-48BC-88E8-68DDF8B6481A}" destId="{D978ACD1-4B26-4645-8F13-A45D154D5084}" srcOrd="0" destOrd="0" parTransId="{D89A1A53-7053-4530-A300-C2CA5C0EF2ED}" sibTransId="{D2FFA864-7DE5-4A56-B937-13340C4592F7}"/>
    <dgm:cxn modelId="{87509342-44AB-4175-B822-8FE77318F936}" type="presOf" srcId="{D978ACD1-4B26-4645-8F13-A45D154D5084}" destId="{73197B51-33EF-47F1-A2A6-B77C193F208E}" srcOrd="0" destOrd="0" presId="urn:microsoft.com/office/officeart/2018/2/layout/IconLabelList"/>
    <dgm:cxn modelId="{34101087-E7E2-4795-B784-F591A773FAB6}" type="presOf" srcId="{F698D327-5CFE-48BC-88E8-68DDF8B6481A}" destId="{88302FA3-4B38-4DE9-AF39-B87B079AA41F}" srcOrd="0" destOrd="0" presId="urn:microsoft.com/office/officeart/2018/2/layout/IconLabelList"/>
    <dgm:cxn modelId="{DA421B88-0999-44F0-8D62-B127D069AACA}" srcId="{F698D327-5CFE-48BC-88E8-68DDF8B6481A}" destId="{627F8641-779B-45A5-A5A4-0577FB030993}" srcOrd="2" destOrd="0" parTransId="{095D0709-9557-4864-8533-7FC55FCE0F33}" sibTransId="{FCED8B2D-3D3C-4753-828A-2BD52D16A98D}"/>
    <dgm:cxn modelId="{BEB10B95-2C38-42CD-A35D-F8AB4706D056}" type="presOf" srcId="{358ACC93-4AAF-46D2-AB7D-5731F3438145}" destId="{7D814079-005B-4715-9864-284F98D41CF3}" srcOrd="0" destOrd="0" presId="urn:microsoft.com/office/officeart/2018/2/layout/IconLabelList"/>
    <dgm:cxn modelId="{848767A7-AE03-42D9-8637-24A94BAC7419}" srcId="{F698D327-5CFE-48BC-88E8-68DDF8B6481A}" destId="{201BBB6A-AA20-4A82-A736-CDAA70D9A4A7}" srcOrd="1" destOrd="0" parTransId="{6B0C5DB0-A019-4750-8298-BE9C1F3DBFF2}" sibTransId="{03A250B7-95F2-4BF4-8911-52B399BDC811}"/>
    <dgm:cxn modelId="{BA7DBED9-FA92-4C51-9378-7B5F833C8943}" type="presOf" srcId="{627F8641-779B-45A5-A5A4-0577FB030993}" destId="{1A8E7BB0-C396-4630-87B4-30DA30C39215}" srcOrd="0" destOrd="0" presId="urn:microsoft.com/office/officeart/2018/2/layout/IconLabelList"/>
    <dgm:cxn modelId="{08E01EF2-B178-42D9-BA52-52F503963CB7}" type="presOf" srcId="{201BBB6A-AA20-4A82-A736-CDAA70D9A4A7}" destId="{05D971A9-E3FA-4980-B54B-989F50825D8B}" srcOrd="0" destOrd="0" presId="urn:microsoft.com/office/officeart/2018/2/layout/IconLabelList"/>
    <dgm:cxn modelId="{0D1D1066-BF2B-4629-9F41-396DBF65E234}" type="presParOf" srcId="{88302FA3-4B38-4DE9-AF39-B87B079AA41F}" destId="{7582F32E-84B6-4D08-B550-3C0900893525}" srcOrd="0" destOrd="0" presId="urn:microsoft.com/office/officeart/2018/2/layout/IconLabelList"/>
    <dgm:cxn modelId="{A2085522-D027-419A-A98E-F2288E7BD3E9}" type="presParOf" srcId="{7582F32E-84B6-4D08-B550-3C0900893525}" destId="{0FE579EC-6757-431A-B349-F79389F0E925}" srcOrd="0" destOrd="0" presId="urn:microsoft.com/office/officeart/2018/2/layout/IconLabelList"/>
    <dgm:cxn modelId="{D06C1A07-7495-4437-A527-2FDD3183AC43}" type="presParOf" srcId="{7582F32E-84B6-4D08-B550-3C0900893525}" destId="{F7010687-7DB1-4C14-84F6-1432A64D2E89}" srcOrd="1" destOrd="0" presId="urn:microsoft.com/office/officeart/2018/2/layout/IconLabelList"/>
    <dgm:cxn modelId="{61450267-61D5-4096-AFAF-13D5FEA77584}" type="presParOf" srcId="{7582F32E-84B6-4D08-B550-3C0900893525}" destId="{73197B51-33EF-47F1-A2A6-B77C193F208E}" srcOrd="2" destOrd="0" presId="urn:microsoft.com/office/officeart/2018/2/layout/IconLabelList"/>
    <dgm:cxn modelId="{5C70A79A-BD20-4178-9A9F-AB022A8F7180}" type="presParOf" srcId="{88302FA3-4B38-4DE9-AF39-B87B079AA41F}" destId="{F162C276-F674-48A0-B636-AAC8C25CDF0D}" srcOrd="1" destOrd="0" presId="urn:microsoft.com/office/officeart/2018/2/layout/IconLabelList"/>
    <dgm:cxn modelId="{982EE481-F496-453B-AA03-3D7C6CEE22D5}" type="presParOf" srcId="{88302FA3-4B38-4DE9-AF39-B87B079AA41F}" destId="{3042B5E0-4271-427C-928C-42670CE61D00}" srcOrd="2" destOrd="0" presId="urn:microsoft.com/office/officeart/2018/2/layout/IconLabelList"/>
    <dgm:cxn modelId="{9C4BBBC5-4CD9-4EC4-A4B4-2BC7C8D13FE6}" type="presParOf" srcId="{3042B5E0-4271-427C-928C-42670CE61D00}" destId="{C4369F07-946A-4A22-B525-8B7678762830}" srcOrd="0" destOrd="0" presId="urn:microsoft.com/office/officeart/2018/2/layout/IconLabelList"/>
    <dgm:cxn modelId="{2CE7751D-6B88-4867-A147-B409AC9BC537}" type="presParOf" srcId="{3042B5E0-4271-427C-928C-42670CE61D00}" destId="{78BD0A82-953A-4AAB-A219-077315EC0939}" srcOrd="1" destOrd="0" presId="urn:microsoft.com/office/officeart/2018/2/layout/IconLabelList"/>
    <dgm:cxn modelId="{65650915-A742-4AFC-8072-D992A75ECDA4}" type="presParOf" srcId="{3042B5E0-4271-427C-928C-42670CE61D00}" destId="{05D971A9-E3FA-4980-B54B-989F50825D8B}" srcOrd="2" destOrd="0" presId="urn:microsoft.com/office/officeart/2018/2/layout/IconLabelList"/>
    <dgm:cxn modelId="{CCB0EF5A-ED75-4A2F-856C-C598DDB033B9}" type="presParOf" srcId="{88302FA3-4B38-4DE9-AF39-B87B079AA41F}" destId="{3AED78A7-DE88-4743-89DC-74F832ADF63F}" srcOrd="3" destOrd="0" presId="urn:microsoft.com/office/officeart/2018/2/layout/IconLabelList"/>
    <dgm:cxn modelId="{CFF343BE-768F-464D-8F09-D6830EB88479}" type="presParOf" srcId="{88302FA3-4B38-4DE9-AF39-B87B079AA41F}" destId="{449A6B9F-C54B-4F40-A434-B9652694C336}" srcOrd="4" destOrd="0" presId="urn:microsoft.com/office/officeart/2018/2/layout/IconLabelList"/>
    <dgm:cxn modelId="{BE5BB95F-6A0C-4291-B1F8-68B4937D57F3}" type="presParOf" srcId="{449A6B9F-C54B-4F40-A434-B9652694C336}" destId="{2954243B-562C-4B6B-9797-D1C52E3D294C}" srcOrd="0" destOrd="0" presId="urn:microsoft.com/office/officeart/2018/2/layout/IconLabelList"/>
    <dgm:cxn modelId="{403E2ABD-5F63-4078-8536-584806B978A0}" type="presParOf" srcId="{449A6B9F-C54B-4F40-A434-B9652694C336}" destId="{29497F05-0566-493B-B437-A6542E5C3DF7}" srcOrd="1" destOrd="0" presId="urn:microsoft.com/office/officeart/2018/2/layout/IconLabelList"/>
    <dgm:cxn modelId="{07A9EB98-E8DD-4BFD-92ED-31FEC7ACA799}" type="presParOf" srcId="{449A6B9F-C54B-4F40-A434-B9652694C336}" destId="{1A8E7BB0-C396-4630-87B4-30DA30C39215}" srcOrd="2" destOrd="0" presId="urn:microsoft.com/office/officeart/2018/2/layout/IconLabelList"/>
    <dgm:cxn modelId="{99437E75-3B68-4DAB-A0C8-5E47CD8E1D60}" type="presParOf" srcId="{88302FA3-4B38-4DE9-AF39-B87B079AA41F}" destId="{4C84FBDB-6C3D-4B58-9342-886F8429FF05}" srcOrd="5" destOrd="0" presId="urn:microsoft.com/office/officeart/2018/2/layout/IconLabelList"/>
    <dgm:cxn modelId="{1D025133-0037-49F3-A8E5-09C78EC1167D}" type="presParOf" srcId="{88302FA3-4B38-4DE9-AF39-B87B079AA41F}" destId="{D3E0793E-36C9-4B1E-A340-BAC381C670F7}" srcOrd="6" destOrd="0" presId="urn:microsoft.com/office/officeart/2018/2/layout/IconLabelList"/>
    <dgm:cxn modelId="{79441AEE-93EC-404F-B558-656A9E7F7F2E}" type="presParOf" srcId="{D3E0793E-36C9-4B1E-A340-BAC381C670F7}" destId="{D354A078-4D7F-474B-BC60-0F493D2DBF71}" srcOrd="0" destOrd="0" presId="urn:microsoft.com/office/officeart/2018/2/layout/IconLabelList"/>
    <dgm:cxn modelId="{9530175E-DC0C-4C56-BA41-41549FCAE40C}" type="presParOf" srcId="{D3E0793E-36C9-4B1E-A340-BAC381C670F7}" destId="{518010D6-66CD-411E-B61F-7D1CB71F7CEA}" srcOrd="1" destOrd="0" presId="urn:microsoft.com/office/officeart/2018/2/layout/IconLabelList"/>
    <dgm:cxn modelId="{DC7F01C2-F314-4235-864A-44DA09D13636}" type="presParOf" srcId="{D3E0793E-36C9-4B1E-A340-BAC381C670F7}" destId="{7D814079-005B-4715-9864-284F98D41CF3}"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099C8A-A59A-4E98-AD31-975192B32BF0}">
      <dsp:nvSpPr>
        <dsp:cNvPr id="0" name=""/>
        <dsp:cNvSpPr/>
      </dsp:nvSpPr>
      <dsp:spPr>
        <a:xfrm>
          <a:off x="0" y="32085"/>
          <a:ext cx="2464593" cy="147875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Policy </a:t>
          </a:r>
        </a:p>
      </dsp:txBody>
      <dsp:txXfrm>
        <a:off x="0" y="32085"/>
        <a:ext cx="2464593" cy="1478756"/>
      </dsp:txXfrm>
    </dsp:sp>
    <dsp:sp modelId="{E7C2AECE-5345-4ADA-B071-99C09704E1E8}">
      <dsp:nvSpPr>
        <dsp:cNvPr id="0" name=""/>
        <dsp:cNvSpPr/>
      </dsp:nvSpPr>
      <dsp:spPr>
        <a:xfrm>
          <a:off x="2711053" y="32085"/>
          <a:ext cx="2464593" cy="1478756"/>
        </a:xfrm>
        <a:prstGeom prst="rect">
          <a:avLst/>
        </a:prstGeom>
        <a:solidFill>
          <a:schemeClr val="accent2">
            <a:hueOff val="-363841"/>
            <a:satOff val="-20982"/>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Funding</a:t>
          </a:r>
        </a:p>
      </dsp:txBody>
      <dsp:txXfrm>
        <a:off x="2711053" y="32085"/>
        <a:ext cx="2464593" cy="1478756"/>
      </dsp:txXfrm>
    </dsp:sp>
    <dsp:sp modelId="{56D6B2B2-64A4-4E85-9481-79E99F20181A}">
      <dsp:nvSpPr>
        <dsp:cNvPr id="0" name=""/>
        <dsp:cNvSpPr/>
      </dsp:nvSpPr>
      <dsp:spPr>
        <a:xfrm>
          <a:off x="5422106" y="32085"/>
          <a:ext cx="2464593" cy="1478756"/>
        </a:xfrm>
        <a:prstGeom prst="rect">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Lack of Access to Assessment</a:t>
          </a:r>
        </a:p>
      </dsp:txBody>
      <dsp:txXfrm>
        <a:off x="5422106" y="32085"/>
        <a:ext cx="2464593" cy="1478756"/>
      </dsp:txXfrm>
    </dsp:sp>
    <dsp:sp modelId="{B2B05537-BE40-4667-8AF6-CC50894BFC81}">
      <dsp:nvSpPr>
        <dsp:cNvPr id="0" name=""/>
        <dsp:cNvSpPr/>
      </dsp:nvSpPr>
      <dsp:spPr>
        <a:xfrm>
          <a:off x="1355526" y="1757301"/>
          <a:ext cx="2464593" cy="1478756"/>
        </a:xfrm>
        <a:prstGeom prst="rect">
          <a:avLst/>
        </a:prstGeom>
        <a:solidFill>
          <a:schemeClr val="accent2">
            <a:hueOff val="-1091522"/>
            <a:satOff val="-62946"/>
            <a:lumOff val="6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Unawareness/Lack of training</a:t>
          </a:r>
        </a:p>
      </dsp:txBody>
      <dsp:txXfrm>
        <a:off x="1355526" y="1757301"/>
        <a:ext cx="2464593" cy="1478756"/>
      </dsp:txXfrm>
    </dsp:sp>
    <dsp:sp modelId="{6C2DCEA8-F38D-4822-9ECC-E1B29A8E64A4}">
      <dsp:nvSpPr>
        <dsp:cNvPr id="0" name=""/>
        <dsp:cNvSpPr/>
      </dsp:nvSpPr>
      <dsp:spPr>
        <a:xfrm>
          <a:off x="4066579" y="1757301"/>
          <a:ext cx="2464593" cy="1478756"/>
        </a:xfrm>
        <a:prstGeom prst="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en-US" sz="2300" kern="1200"/>
            <a:t>Understudied Population/Subject</a:t>
          </a:r>
        </a:p>
      </dsp:txBody>
      <dsp:txXfrm>
        <a:off x="4066579" y="1757301"/>
        <a:ext cx="2464593" cy="14787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785C40-85EA-4120-B6F7-114822E5A7B1}">
      <dsp:nvSpPr>
        <dsp:cNvPr id="0" name=""/>
        <dsp:cNvSpPr/>
      </dsp:nvSpPr>
      <dsp:spPr>
        <a:xfrm>
          <a:off x="38" y="389387"/>
          <a:ext cx="3685337" cy="839967"/>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a:t>Gap in access to technology leading to barriers in:</a:t>
          </a:r>
        </a:p>
      </dsp:txBody>
      <dsp:txXfrm>
        <a:off x="38" y="389387"/>
        <a:ext cx="3685337" cy="839967"/>
      </dsp:txXfrm>
    </dsp:sp>
    <dsp:sp modelId="{2FC46A58-AA89-41FF-81FC-E4C3F621CA4E}">
      <dsp:nvSpPr>
        <dsp:cNvPr id="0" name=""/>
        <dsp:cNvSpPr/>
      </dsp:nvSpPr>
      <dsp:spPr>
        <a:xfrm>
          <a:off x="38" y="1229354"/>
          <a:ext cx="3685337" cy="1649401"/>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a:t>Community access</a:t>
          </a:r>
        </a:p>
        <a:p>
          <a:pPr marL="228600" lvl="1" indent="-228600" algn="l" defTabSz="1022350">
            <a:lnSpc>
              <a:spcPct val="90000"/>
            </a:lnSpc>
            <a:spcBef>
              <a:spcPct val="0"/>
            </a:spcBef>
            <a:spcAft>
              <a:spcPct val="15000"/>
            </a:spcAft>
            <a:buChar char="•"/>
          </a:pPr>
          <a:r>
            <a:rPr lang="en-US" sz="2300" kern="1200"/>
            <a:t>Vocational opportunities</a:t>
          </a:r>
        </a:p>
        <a:p>
          <a:pPr marL="228600" lvl="1" indent="-228600" algn="l" defTabSz="1022350">
            <a:lnSpc>
              <a:spcPct val="90000"/>
            </a:lnSpc>
            <a:spcBef>
              <a:spcPct val="0"/>
            </a:spcBef>
            <a:spcAft>
              <a:spcPct val="15000"/>
            </a:spcAft>
            <a:buChar char="•"/>
          </a:pPr>
          <a:r>
            <a:rPr lang="en-US" sz="2300" kern="1200"/>
            <a:t>Social participation</a:t>
          </a:r>
        </a:p>
      </dsp:txBody>
      <dsp:txXfrm>
        <a:off x="38" y="1229354"/>
        <a:ext cx="3685337" cy="1649401"/>
      </dsp:txXfrm>
    </dsp:sp>
    <dsp:sp modelId="{A66E12E5-E6F7-4A9D-B657-CB7597721B09}">
      <dsp:nvSpPr>
        <dsp:cNvPr id="0" name=""/>
        <dsp:cNvSpPr/>
      </dsp:nvSpPr>
      <dsp:spPr>
        <a:xfrm>
          <a:off x="4201323" y="389387"/>
          <a:ext cx="3685337" cy="839967"/>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a:t>Significant health inequities</a:t>
          </a:r>
        </a:p>
      </dsp:txBody>
      <dsp:txXfrm>
        <a:off x="4201323" y="389387"/>
        <a:ext cx="3685337" cy="839967"/>
      </dsp:txXfrm>
    </dsp:sp>
    <dsp:sp modelId="{C2AB1A28-5E6C-4E55-A3F7-C8FCCE6CB0D5}">
      <dsp:nvSpPr>
        <dsp:cNvPr id="0" name=""/>
        <dsp:cNvSpPr/>
      </dsp:nvSpPr>
      <dsp:spPr>
        <a:xfrm>
          <a:off x="4201323" y="1229354"/>
          <a:ext cx="3685337" cy="1649401"/>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2682" tIns="122682" rIns="163576" bIns="184023" numCol="1" spcCol="1270" anchor="t" anchorCtr="0">
          <a:noAutofit/>
        </a:bodyPr>
        <a:lstStyle/>
        <a:p>
          <a:pPr marL="228600" lvl="1" indent="-228600" algn="l" defTabSz="1022350">
            <a:lnSpc>
              <a:spcPct val="90000"/>
            </a:lnSpc>
            <a:spcBef>
              <a:spcPct val="0"/>
            </a:spcBef>
            <a:spcAft>
              <a:spcPct val="15000"/>
            </a:spcAft>
            <a:buChar char="•"/>
          </a:pPr>
          <a:r>
            <a:rPr lang="en-US" sz="2300" kern="1200"/>
            <a:t>Higher mortality rate from preventable diseases</a:t>
          </a:r>
        </a:p>
        <a:p>
          <a:pPr marL="228600" lvl="1" indent="-228600" algn="l" defTabSz="1022350">
            <a:lnSpc>
              <a:spcPct val="90000"/>
            </a:lnSpc>
            <a:spcBef>
              <a:spcPct val="0"/>
            </a:spcBef>
            <a:spcAft>
              <a:spcPct val="15000"/>
            </a:spcAft>
            <a:buChar char="•"/>
          </a:pPr>
          <a:r>
            <a:rPr lang="en-US" sz="2300" kern="1200"/>
            <a:t>Communication difficulties</a:t>
          </a:r>
        </a:p>
      </dsp:txBody>
      <dsp:txXfrm>
        <a:off x="4201323" y="1229354"/>
        <a:ext cx="3685337" cy="164940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D63CC8-317C-4B0E-B4EB-767A97DD604B}">
      <dsp:nvSpPr>
        <dsp:cNvPr id="0" name=""/>
        <dsp:cNvSpPr/>
      </dsp:nvSpPr>
      <dsp:spPr>
        <a:xfrm>
          <a:off x="0" y="2"/>
          <a:ext cx="3868340" cy="43340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18DFEA-C698-4EC7-8717-9F4D58E21086}">
      <dsp:nvSpPr>
        <dsp:cNvPr id="0" name=""/>
        <dsp:cNvSpPr/>
      </dsp:nvSpPr>
      <dsp:spPr>
        <a:xfrm>
          <a:off x="131105" y="97831"/>
          <a:ext cx="238373" cy="23837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B6D8161-FBB0-40DA-9EC8-F4A5BA9A5908}">
      <dsp:nvSpPr>
        <dsp:cNvPr id="0" name=""/>
        <dsp:cNvSpPr/>
      </dsp:nvSpPr>
      <dsp:spPr>
        <a:xfrm>
          <a:off x="500584" y="314"/>
          <a:ext cx="3367755" cy="433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869" tIns="45869" rIns="45869" bIns="45869" numCol="1" spcCol="1270" anchor="ctr" anchorCtr="0">
          <a:noAutofit/>
        </a:bodyPr>
        <a:lstStyle/>
        <a:p>
          <a:pPr marL="0" lvl="0" indent="0" algn="l" defTabSz="711200">
            <a:lnSpc>
              <a:spcPct val="100000"/>
            </a:lnSpc>
            <a:spcBef>
              <a:spcPct val="0"/>
            </a:spcBef>
            <a:spcAft>
              <a:spcPct val="35000"/>
            </a:spcAft>
            <a:buNone/>
          </a:pPr>
          <a:r>
            <a:rPr lang="en-US" sz="1600" kern="1200"/>
            <a:t>Device mismatch</a:t>
          </a:r>
        </a:p>
      </dsp:txBody>
      <dsp:txXfrm>
        <a:off x="500584" y="314"/>
        <a:ext cx="3367755" cy="433406"/>
      </dsp:txXfrm>
    </dsp:sp>
    <dsp:sp modelId="{C1A4BEA8-585B-427D-B125-DA41C8CD8971}">
      <dsp:nvSpPr>
        <dsp:cNvPr id="0" name=""/>
        <dsp:cNvSpPr/>
      </dsp:nvSpPr>
      <dsp:spPr>
        <a:xfrm>
          <a:off x="0" y="542073"/>
          <a:ext cx="3868340" cy="43340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48C7FA6-430A-4121-81E1-23C90413BA92}">
      <dsp:nvSpPr>
        <dsp:cNvPr id="0" name=""/>
        <dsp:cNvSpPr/>
      </dsp:nvSpPr>
      <dsp:spPr>
        <a:xfrm>
          <a:off x="131105" y="639589"/>
          <a:ext cx="238373" cy="23837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D480CB-A71A-4A84-BE19-AD3781F409B8}">
      <dsp:nvSpPr>
        <dsp:cNvPr id="0" name=""/>
        <dsp:cNvSpPr/>
      </dsp:nvSpPr>
      <dsp:spPr>
        <a:xfrm>
          <a:off x="500584" y="542073"/>
          <a:ext cx="3367755" cy="433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869" tIns="45869" rIns="45869" bIns="45869" numCol="1" spcCol="1270" anchor="ctr" anchorCtr="0">
          <a:noAutofit/>
        </a:bodyPr>
        <a:lstStyle/>
        <a:p>
          <a:pPr marL="0" lvl="0" indent="0" algn="l" defTabSz="711200">
            <a:lnSpc>
              <a:spcPct val="100000"/>
            </a:lnSpc>
            <a:spcBef>
              <a:spcPct val="0"/>
            </a:spcBef>
            <a:spcAft>
              <a:spcPct val="35000"/>
            </a:spcAft>
            <a:buNone/>
          </a:pPr>
          <a:r>
            <a:rPr lang="en-US" sz="1600" kern="1200"/>
            <a:t>Lack of buy-in </a:t>
          </a:r>
        </a:p>
      </dsp:txBody>
      <dsp:txXfrm>
        <a:off x="500584" y="542073"/>
        <a:ext cx="3367755" cy="433406"/>
      </dsp:txXfrm>
    </dsp:sp>
    <dsp:sp modelId="{84A37C37-6E34-47F8-A970-391FE0D5C7E2}">
      <dsp:nvSpPr>
        <dsp:cNvPr id="0" name=""/>
        <dsp:cNvSpPr/>
      </dsp:nvSpPr>
      <dsp:spPr>
        <a:xfrm>
          <a:off x="0" y="1083831"/>
          <a:ext cx="3868340" cy="43340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0DD1276-07E9-4E8F-8AD7-EF047587EAAB}">
      <dsp:nvSpPr>
        <dsp:cNvPr id="0" name=""/>
        <dsp:cNvSpPr/>
      </dsp:nvSpPr>
      <dsp:spPr>
        <a:xfrm>
          <a:off x="131105" y="1181348"/>
          <a:ext cx="238373" cy="23837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5DC9675-D9F6-4EAB-A6E6-2D04D34F8EAD}">
      <dsp:nvSpPr>
        <dsp:cNvPr id="0" name=""/>
        <dsp:cNvSpPr/>
      </dsp:nvSpPr>
      <dsp:spPr>
        <a:xfrm>
          <a:off x="500584" y="1083831"/>
          <a:ext cx="3367755" cy="433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869" tIns="45869" rIns="45869" bIns="45869" numCol="1" spcCol="1270" anchor="ctr" anchorCtr="0">
          <a:noAutofit/>
        </a:bodyPr>
        <a:lstStyle/>
        <a:p>
          <a:pPr marL="0" lvl="0" indent="0" algn="l" defTabSz="711200">
            <a:lnSpc>
              <a:spcPct val="100000"/>
            </a:lnSpc>
            <a:spcBef>
              <a:spcPct val="0"/>
            </a:spcBef>
            <a:spcAft>
              <a:spcPct val="35000"/>
            </a:spcAft>
            <a:buNone/>
          </a:pPr>
          <a:r>
            <a:rPr lang="en-US" sz="1600" kern="1200"/>
            <a:t>Roles are unclear</a:t>
          </a:r>
        </a:p>
      </dsp:txBody>
      <dsp:txXfrm>
        <a:off x="500584" y="1083831"/>
        <a:ext cx="3367755" cy="433406"/>
      </dsp:txXfrm>
    </dsp:sp>
    <dsp:sp modelId="{1B67CB5E-6E9A-47C3-AECE-859C34D9B8A1}">
      <dsp:nvSpPr>
        <dsp:cNvPr id="0" name=""/>
        <dsp:cNvSpPr/>
      </dsp:nvSpPr>
      <dsp:spPr>
        <a:xfrm>
          <a:off x="0" y="1625590"/>
          <a:ext cx="3868340" cy="43340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9571E18-D7FF-4B0D-BDFB-874C459D62DD}">
      <dsp:nvSpPr>
        <dsp:cNvPr id="0" name=""/>
        <dsp:cNvSpPr/>
      </dsp:nvSpPr>
      <dsp:spPr>
        <a:xfrm>
          <a:off x="131105" y="1723107"/>
          <a:ext cx="238373" cy="23837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62CBD1-3EFA-4C79-873D-D782BCD99309}">
      <dsp:nvSpPr>
        <dsp:cNvPr id="0" name=""/>
        <dsp:cNvSpPr/>
      </dsp:nvSpPr>
      <dsp:spPr>
        <a:xfrm>
          <a:off x="500584" y="1625590"/>
          <a:ext cx="3367755" cy="433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869" tIns="45869" rIns="45869" bIns="45869" numCol="1" spcCol="1270" anchor="ctr" anchorCtr="0">
          <a:noAutofit/>
        </a:bodyPr>
        <a:lstStyle/>
        <a:p>
          <a:pPr marL="0" lvl="0" indent="0" algn="l" defTabSz="711200">
            <a:lnSpc>
              <a:spcPct val="100000"/>
            </a:lnSpc>
            <a:spcBef>
              <a:spcPct val="0"/>
            </a:spcBef>
            <a:spcAft>
              <a:spcPct val="35000"/>
            </a:spcAft>
            <a:buNone/>
          </a:pPr>
          <a:r>
            <a:rPr lang="en-US" sz="1600" kern="1200"/>
            <a:t>Funding</a:t>
          </a:r>
        </a:p>
      </dsp:txBody>
      <dsp:txXfrm>
        <a:off x="500584" y="1625590"/>
        <a:ext cx="3367755" cy="433406"/>
      </dsp:txXfrm>
    </dsp:sp>
    <dsp:sp modelId="{2C9D175E-F3CA-405B-AA4C-E69629B914B5}">
      <dsp:nvSpPr>
        <dsp:cNvPr id="0" name=""/>
        <dsp:cNvSpPr/>
      </dsp:nvSpPr>
      <dsp:spPr>
        <a:xfrm>
          <a:off x="0" y="2167349"/>
          <a:ext cx="3868340" cy="43340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1CB7F7B-B3E2-4299-8F25-788A84219D6C}">
      <dsp:nvSpPr>
        <dsp:cNvPr id="0" name=""/>
        <dsp:cNvSpPr/>
      </dsp:nvSpPr>
      <dsp:spPr>
        <a:xfrm>
          <a:off x="131105" y="2264865"/>
          <a:ext cx="238373" cy="238373"/>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AE2ED81-441B-4B08-897C-DA762F26EBB7}">
      <dsp:nvSpPr>
        <dsp:cNvPr id="0" name=""/>
        <dsp:cNvSpPr/>
      </dsp:nvSpPr>
      <dsp:spPr>
        <a:xfrm>
          <a:off x="500584" y="2167349"/>
          <a:ext cx="3367755" cy="433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869" tIns="45869" rIns="45869" bIns="45869" numCol="1" spcCol="1270" anchor="ctr" anchorCtr="0">
          <a:noAutofit/>
        </a:bodyPr>
        <a:lstStyle/>
        <a:p>
          <a:pPr marL="0" lvl="0" indent="0" algn="l" defTabSz="711200">
            <a:lnSpc>
              <a:spcPct val="100000"/>
            </a:lnSpc>
            <a:spcBef>
              <a:spcPct val="0"/>
            </a:spcBef>
            <a:spcAft>
              <a:spcPct val="35000"/>
            </a:spcAft>
            <a:buNone/>
          </a:pPr>
          <a:r>
            <a:rPr lang="en-US" sz="1600" kern="1200"/>
            <a:t>Team is underprepared/lacks training</a:t>
          </a:r>
        </a:p>
      </dsp:txBody>
      <dsp:txXfrm>
        <a:off x="500584" y="2167349"/>
        <a:ext cx="3367755" cy="433406"/>
      </dsp:txXfrm>
    </dsp:sp>
    <dsp:sp modelId="{3905C921-CFA4-4DF2-A1FD-A7D2555948CC}">
      <dsp:nvSpPr>
        <dsp:cNvPr id="0" name=""/>
        <dsp:cNvSpPr/>
      </dsp:nvSpPr>
      <dsp:spPr>
        <a:xfrm>
          <a:off x="0" y="2709107"/>
          <a:ext cx="3868340" cy="43340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BDE149D-0A6F-4139-B747-D590ED1C70C2}">
      <dsp:nvSpPr>
        <dsp:cNvPr id="0" name=""/>
        <dsp:cNvSpPr/>
      </dsp:nvSpPr>
      <dsp:spPr>
        <a:xfrm>
          <a:off x="131105" y="2806624"/>
          <a:ext cx="238373" cy="238373"/>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A98D0E-96AD-4FFB-A2D0-CEE88888DD4B}">
      <dsp:nvSpPr>
        <dsp:cNvPr id="0" name=""/>
        <dsp:cNvSpPr/>
      </dsp:nvSpPr>
      <dsp:spPr>
        <a:xfrm>
          <a:off x="500584" y="2709107"/>
          <a:ext cx="3367755" cy="433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869" tIns="45869" rIns="45869" bIns="45869" numCol="1" spcCol="1270" anchor="ctr" anchorCtr="0">
          <a:noAutofit/>
        </a:bodyPr>
        <a:lstStyle/>
        <a:p>
          <a:pPr marL="0" lvl="0" indent="0" algn="l" defTabSz="711200">
            <a:lnSpc>
              <a:spcPct val="100000"/>
            </a:lnSpc>
            <a:spcBef>
              <a:spcPct val="0"/>
            </a:spcBef>
            <a:spcAft>
              <a:spcPct val="35000"/>
            </a:spcAft>
            <a:buNone/>
          </a:pPr>
          <a:r>
            <a:rPr lang="en-US" sz="1600" kern="1200"/>
            <a:t>Maintenance</a:t>
          </a:r>
        </a:p>
      </dsp:txBody>
      <dsp:txXfrm>
        <a:off x="500584" y="2709107"/>
        <a:ext cx="3367755" cy="433406"/>
      </dsp:txXfrm>
    </dsp:sp>
    <dsp:sp modelId="{8ACC22F2-E966-4989-B55B-8982DF04356A}">
      <dsp:nvSpPr>
        <dsp:cNvPr id="0" name=""/>
        <dsp:cNvSpPr/>
      </dsp:nvSpPr>
      <dsp:spPr>
        <a:xfrm>
          <a:off x="0" y="3250866"/>
          <a:ext cx="3868340" cy="433406"/>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B287970-B5B0-4868-BDCE-4F6DC96681FA}">
      <dsp:nvSpPr>
        <dsp:cNvPr id="0" name=""/>
        <dsp:cNvSpPr/>
      </dsp:nvSpPr>
      <dsp:spPr>
        <a:xfrm>
          <a:off x="131105" y="3348382"/>
          <a:ext cx="238373" cy="238373"/>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95C0CC3-A2C8-4BF7-8E1C-C74297CAFA14}">
      <dsp:nvSpPr>
        <dsp:cNvPr id="0" name=""/>
        <dsp:cNvSpPr/>
      </dsp:nvSpPr>
      <dsp:spPr>
        <a:xfrm>
          <a:off x="500584" y="3250866"/>
          <a:ext cx="3367755" cy="433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869" tIns="45869" rIns="45869" bIns="45869" numCol="1" spcCol="1270" anchor="ctr" anchorCtr="0">
          <a:noAutofit/>
        </a:bodyPr>
        <a:lstStyle/>
        <a:p>
          <a:pPr marL="0" lvl="0" indent="0" algn="l" defTabSz="711200">
            <a:lnSpc>
              <a:spcPct val="100000"/>
            </a:lnSpc>
            <a:spcBef>
              <a:spcPct val="0"/>
            </a:spcBef>
            <a:spcAft>
              <a:spcPct val="35000"/>
            </a:spcAft>
            <a:buNone/>
          </a:pPr>
          <a:r>
            <a:rPr lang="en-US" sz="1600" kern="1200"/>
            <a:t>Understudied</a:t>
          </a:r>
        </a:p>
      </dsp:txBody>
      <dsp:txXfrm>
        <a:off x="500584" y="3250866"/>
        <a:ext cx="3367755" cy="43340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099C8A-A59A-4E98-AD31-975192B32BF0}">
      <dsp:nvSpPr>
        <dsp:cNvPr id="0" name=""/>
        <dsp:cNvSpPr/>
      </dsp:nvSpPr>
      <dsp:spPr>
        <a:xfrm>
          <a:off x="0" y="32085"/>
          <a:ext cx="2464593" cy="147875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Policy: DDS created a program that addresses </a:t>
          </a:r>
          <a:r>
            <a:rPr lang="en-US" sz="1900" kern="1200" dirty="0" err="1"/>
            <a:t>thes</a:t>
          </a:r>
          <a:r>
            <a:rPr lang="en-US" sz="1900" kern="1200" dirty="0"/>
            <a:t> policy barriers.  </a:t>
          </a:r>
        </a:p>
      </dsp:txBody>
      <dsp:txXfrm>
        <a:off x="0" y="32085"/>
        <a:ext cx="2464593" cy="1478756"/>
      </dsp:txXfrm>
    </dsp:sp>
    <dsp:sp modelId="{E7C2AECE-5345-4ADA-B071-99C09704E1E8}">
      <dsp:nvSpPr>
        <dsp:cNvPr id="0" name=""/>
        <dsp:cNvSpPr/>
      </dsp:nvSpPr>
      <dsp:spPr>
        <a:xfrm>
          <a:off x="2711053" y="32085"/>
          <a:ext cx="2464593" cy="1478756"/>
        </a:xfrm>
        <a:prstGeom prst="rect">
          <a:avLst/>
        </a:prstGeom>
        <a:solidFill>
          <a:schemeClr val="accent2">
            <a:hueOff val="-363841"/>
            <a:satOff val="-20982"/>
            <a:lumOff val="2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Funding: Waiver service addresses Insurance funding gap</a:t>
          </a:r>
        </a:p>
      </dsp:txBody>
      <dsp:txXfrm>
        <a:off x="2711053" y="32085"/>
        <a:ext cx="2464593" cy="1478756"/>
      </dsp:txXfrm>
    </dsp:sp>
    <dsp:sp modelId="{56D6B2B2-64A4-4E85-9481-79E99F20181A}">
      <dsp:nvSpPr>
        <dsp:cNvPr id="0" name=""/>
        <dsp:cNvSpPr/>
      </dsp:nvSpPr>
      <dsp:spPr>
        <a:xfrm>
          <a:off x="5422106" y="32085"/>
          <a:ext cx="2464593" cy="1478756"/>
        </a:xfrm>
        <a:prstGeom prst="rect">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a:t>Lack of Access to Assessment: 12 agencies with expert providers.</a:t>
          </a:r>
        </a:p>
      </dsp:txBody>
      <dsp:txXfrm>
        <a:off x="5422106" y="32085"/>
        <a:ext cx="2464593" cy="1478756"/>
      </dsp:txXfrm>
    </dsp:sp>
    <dsp:sp modelId="{B2B05537-BE40-4667-8AF6-CC50894BFC81}">
      <dsp:nvSpPr>
        <dsp:cNvPr id="0" name=""/>
        <dsp:cNvSpPr/>
      </dsp:nvSpPr>
      <dsp:spPr>
        <a:xfrm>
          <a:off x="1355526" y="1757301"/>
          <a:ext cx="2464593" cy="1478756"/>
        </a:xfrm>
        <a:prstGeom prst="rect">
          <a:avLst/>
        </a:prstGeom>
        <a:solidFill>
          <a:schemeClr val="accent2">
            <a:hueOff val="-1091522"/>
            <a:satOff val="-62946"/>
            <a:lumOff val="6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Unawareness/Lack of training: Team based assessment and built-in training hours for whole team</a:t>
          </a:r>
        </a:p>
      </dsp:txBody>
      <dsp:txXfrm>
        <a:off x="1355526" y="1757301"/>
        <a:ext cx="2464593" cy="1478756"/>
      </dsp:txXfrm>
    </dsp:sp>
    <dsp:sp modelId="{6C2DCEA8-F38D-4822-9ECC-E1B29A8E64A4}">
      <dsp:nvSpPr>
        <dsp:cNvPr id="0" name=""/>
        <dsp:cNvSpPr/>
      </dsp:nvSpPr>
      <dsp:spPr>
        <a:xfrm>
          <a:off x="4066579" y="1757301"/>
          <a:ext cx="2464593" cy="1478756"/>
        </a:xfrm>
        <a:prstGeom prst="rect">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Understudied Population/Subject: Innovation grants offer opportunity for studies</a:t>
          </a:r>
        </a:p>
      </dsp:txBody>
      <dsp:txXfrm>
        <a:off x="4066579" y="1757301"/>
        <a:ext cx="2464593" cy="147875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C5D7E1-3102-4647-B28F-108E124F109D}">
      <dsp:nvSpPr>
        <dsp:cNvPr id="0" name=""/>
        <dsp:cNvSpPr/>
      </dsp:nvSpPr>
      <dsp:spPr>
        <a:xfrm>
          <a:off x="0" y="506"/>
          <a:ext cx="5175384" cy="0"/>
        </a:xfrm>
        <a:prstGeom prst="line">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6181500-B856-4B1E-813C-F038F51D9D54}">
      <dsp:nvSpPr>
        <dsp:cNvPr id="0" name=""/>
        <dsp:cNvSpPr/>
      </dsp:nvSpPr>
      <dsp:spPr>
        <a:xfrm>
          <a:off x="0" y="506"/>
          <a:ext cx="5175384" cy="4612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latin typeface="+mn-lt"/>
              <a:cs typeface="Arial" panose="020B0604020202020204" pitchFamily="34" charset="0"/>
            </a:rPr>
            <a:t>Electronic motion sensor devices</a:t>
          </a:r>
        </a:p>
      </dsp:txBody>
      <dsp:txXfrm>
        <a:off x="0" y="506"/>
        <a:ext cx="5175384" cy="461232"/>
      </dsp:txXfrm>
    </dsp:sp>
    <dsp:sp modelId="{C32E7526-4A9C-46B7-82E3-49A4A7990B8B}">
      <dsp:nvSpPr>
        <dsp:cNvPr id="0" name=""/>
        <dsp:cNvSpPr/>
      </dsp:nvSpPr>
      <dsp:spPr>
        <a:xfrm>
          <a:off x="0" y="461739"/>
          <a:ext cx="5175384" cy="0"/>
        </a:xfrm>
        <a:prstGeom prst="line">
          <a:avLst/>
        </a:prstGeom>
        <a:solidFill>
          <a:schemeClr val="accent3">
            <a:hueOff val="0"/>
            <a:satOff val="0"/>
            <a:lumOff val="0"/>
            <a:alphaOff val="0"/>
          </a:schemeClr>
        </a:solidFill>
        <a:ln w="1587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D38797-15F7-4083-B6C1-EE07475D5E22}">
      <dsp:nvSpPr>
        <dsp:cNvPr id="0" name=""/>
        <dsp:cNvSpPr/>
      </dsp:nvSpPr>
      <dsp:spPr>
        <a:xfrm>
          <a:off x="0" y="461739"/>
          <a:ext cx="5175384" cy="4612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latin typeface="+mn-lt"/>
              <a:cs typeface="Arial" panose="020B0604020202020204" pitchFamily="34" charset="0"/>
            </a:rPr>
            <a:t>Door alarms</a:t>
          </a:r>
        </a:p>
      </dsp:txBody>
      <dsp:txXfrm>
        <a:off x="0" y="461739"/>
        <a:ext cx="5175384" cy="461232"/>
      </dsp:txXfrm>
    </dsp:sp>
    <dsp:sp modelId="{3D2E1CDC-F325-46B6-8E2E-1B98CC2D0393}">
      <dsp:nvSpPr>
        <dsp:cNvPr id="0" name=""/>
        <dsp:cNvSpPr/>
      </dsp:nvSpPr>
      <dsp:spPr>
        <a:xfrm>
          <a:off x="0" y="922971"/>
          <a:ext cx="5175384" cy="0"/>
        </a:xfrm>
        <a:prstGeom prst="line">
          <a:avLst/>
        </a:prstGeom>
        <a:solidFill>
          <a:schemeClr val="accent4">
            <a:hueOff val="0"/>
            <a:satOff val="0"/>
            <a:lumOff val="0"/>
            <a:alphaOff val="0"/>
          </a:schemeClr>
        </a:solidFill>
        <a:ln w="1587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B67939-BAC5-4EEF-B7AD-7E2AC6F0C6F2}">
      <dsp:nvSpPr>
        <dsp:cNvPr id="0" name=""/>
        <dsp:cNvSpPr/>
      </dsp:nvSpPr>
      <dsp:spPr>
        <a:xfrm>
          <a:off x="0" y="922971"/>
          <a:ext cx="5175384" cy="4612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a:latin typeface="+mn-lt"/>
              <a:cs typeface="Arial" panose="020B0604020202020204" pitchFamily="34" charset="0"/>
            </a:rPr>
            <a:t>Sensors that detect that a stove has been left on</a:t>
          </a:r>
        </a:p>
      </dsp:txBody>
      <dsp:txXfrm>
        <a:off x="0" y="922971"/>
        <a:ext cx="5175384" cy="461232"/>
      </dsp:txXfrm>
    </dsp:sp>
    <dsp:sp modelId="{D25D2103-E904-461E-B9AF-EDA1727F33A1}">
      <dsp:nvSpPr>
        <dsp:cNvPr id="0" name=""/>
        <dsp:cNvSpPr/>
      </dsp:nvSpPr>
      <dsp:spPr>
        <a:xfrm>
          <a:off x="0" y="1384204"/>
          <a:ext cx="5175384" cy="0"/>
        </a:xfrm>
        <a:prstGeom prst="line">
          <a:avLst/>
        </a:prstGeom>
        <a:solidFill>
          <a:schemeClr val="accent5">
            <a:hueOff val="0"/>
            <a:satOff val="0"/>
            <a:lumOff val="0"/>
            <a:alphaOff val="0"/>
          </a:schemeClr>
        </a:solidFill>
        <a:ln w="1587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0310D7F-E39D-4F40-815A-CCA658EE1218}">
      <dsp:nvSpPr>
        <dsp:cNvPr id="0" name=""/>
        <dsp:cNvSpPr/>
      </dsp:nvSpPr>
      <dsp:spPr>
        <a:xfrm>
          <a:off x="0" y="1384204"/>
          <a:ext cx="5175384" cy="4612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ts val="50"/>
            </a:spcAft>
            <a:buNone/>
          </a:pPr>
          <a:r>
            <a:rPr lang="en-US" sz="1600" kern="1200">
              <a:latin typeface="+mn-lt"/>
              <a:cs typeface="Arial" panose="020B0604020202020204" pitchFamily="34" charset="0"/>
            </a:rPr>
            <a:t>Telephones mods large or picture buttons/flashing lights</a:t>
          </a:r>
        </a:p>
      </dsp:txBody>
      <dsp:txXfrm>
        <a:off x="0" y="1384204"/>
        <a:ext cx="5175384" cy="461232"/>
      </dsp:txXfrm>
    </dsp:sp>
    <dsp:sp modelId="{B542FA6E-9267-4158-9E1B-C8012E7D6CC7}">
      <dsp:nvSpPr>
        <dsp:cNvPr id="0" name=""/>
        <dsp:cNvSpPr/>
      </dsp:nvSpPr>
      <dsp:spPr>
        <a:xfrm>
          <a:off x="0" y="1845436"/>
          <a:ext cx="5175384" cy="0"/>
        </a:xfrm>
        <a:prstGeom prst="line">
          <a:avLst/>
        </a:prstGeom>
        <a:solidFill>
          <a:schemeClr val="accent6">
            <a:hueOff val="0"/>
            <a:satOff val="0"/>
            <a:lumOff val="0"/>
            <a:alphaOff val="0"/>
          </a:schemeClr>
        </a:solidFill>
        <a:ln w="15875"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7C7CDAD-E242-4319-9DAD-F3A18ECE1C7B}">
      <dsp:nvSpPr>
        <dsp:cNvPr id="0" name=""/>
        <dsp:cNvSpPr/>
      </dsp:nvSpPr>
      <dsp:spPr>
        <a:xfrm>
          <a:off x="0" y="1845436"/>
          <a:ext cx="5175384" cy="4612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latin typeface="+mn-lt"/>
              <a:cs typeface="Arial" panose="020B0604020202020204" pitchFamily="34" charset="0"/>
            </a:rPr>
            <a:t>Device on wheelchair or walker to send an alert if the individual falls</a:t>
          </a:r>
        </a:p>
      </dsp:txBody>
      <dsp:txXfrm>
        <a:off x="0" y="1845436"/>
        <a:ext cx="5175384" cy="461232"/>
      </dsp:txXfrm>
    </dsp:sp>
    <dsp:sp modelId="{84A46056-B062-45AD-BD39-2EA5DA951FC1}">
      <dsp:nvSpPr>
        <dsp:cNvPr id="0" name=""/>
        <dsp:cNvSpPr/>
      </dsp:nvSpPr>
      <dsp:spPr>
        <a:xfrm>
          <a:off x="0" y="2306669"/>
          <a:ext cx="5175384" cy="0"/>
        </a:xfrm>
        <a:prstGeom prst="line">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0F03111-A8F7-4266-805D-9436293C450B}">
      <dsp:nvSpPr>
        <dsp:cNvPr id="0" name=""/>
        <dsp:cNvSpPr/>
      </dsp:nvSpPr>
      <dsp:spPr>
        <a:xfrm>
          <a:off x="0" y="2306669"/>
          <a:ext cx="5175384" cy="4612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b="0" kern="1200" spc="-15">
              <a:effectLst/>
              <a:latin typeface="+mn-lt"/>
              <a:ea typeface="Calibri" panose="020F0502020204030204" pitchFamily="34" charset="0"/>
              <a:cs typeface="Arial" panose="020B0604020202020204" pitchFamily="34" charset="0"/>
            </a:rPr>
            <a:t>B</a:t>
          </a:r>
          <a:r>
            <a:rPr lang="en-US" sz="1700" kern="1200" spc="-15">
              <a:effectLst/>
              <a:latin typeface="+mn-lt"/>
              <a:ea typeface="Calibri" panose="020F0502020204030204" pitchFamily="34" charset="0"/>
              <a:cs typeface="Arial" panose="020B0604020202020204" pitchFamily="34" charset="0"/>
            </a:rPr>
            <a:t>racelet </a:t>
          </a:r>
          <a:r>
            <a:rPr lang="en-US" sz="1700" kern="1200">
              <a:effectLst/>
              <a:latin typeface="+mn-lt"/>
              <a:ea typeface="Calibri" panose="020F0502020204030204" pitchFamily="34" charset="0"/>
              <a:cs typeface="Arial" panose="020B0604020202020204" pitchFamily="34" charset="0"/>
            </a:rPr>
            <a:t>that detects </a:t>
          </a:r>
          <a:r>
            <a:rPr lang="en-US" sz="1700" kern="1200" spc="-15">
              <a:effectLst/>
              <a:latin typeface="+mn-lt"/>
              <a:ea typeface="Calibri" panose="020F0502020204030204" pitchFamily="34" charset="0"/>
              <a:cs typeface="Arial" panose="020B0604020202020204" pitchFamily="34" charset="0"/>
            </a:rPr>
            <a:t>seizure activity</a:t>
          </a:r>
          <a:endParaRPr lang="en-US" sz="1700" kern="1200">
            <a:latin typeface="+mn-lt"/>
            <a:cs typeface="Arial" panose="020B0604020202020204" pitchFamily="34" charset="0"/>
          </a:endParaRPr>
        </a:p>
      </dsp:txBody>
      <dsp:txXfrm>
        <a:off x="0" y="2306669"/>
        <a:ext cx="5175384" cy="461232"/>
      </dsp:txXfrm>
    </dsp:sp>
    <dsp:sp modelId="{CFDF97E2-4BC4-46CC-8608-3812EB9B1B2E}">
      <dsp:nvSpPr>
        <dsp:cNvPr id="0" name=""/>
        <dsp:cNvSpPr/>
      </dsp:nvSpPr>
      <dsp:spPr>
        <a:xfrm>
          <a:off x="0" y="2767901"/>
          <a:ext cx="5175384" cy="0"/>
        </a:xfrm>
        <a:prstGeom prst="line">
          <a:avLst/>
        </a:prstGeom>
        <a:solidFill>
          <a:schemeClr val="accent3">
            <a:hueOff val="0"/>
            <a:satOff val="0"/>
            <a:lumOff val="0"/>
            <a:alphaOff val="0"/>
          </a:schemeClr>
        </a:solidFill>
        <a:ln w="15875"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21E262A-B16F-4B7A-B4FF-F518BF705A33}">
      <dsp:nvSpPr>
        <dsp:cNvPr id="0" name=""/>
        <dsp:cNvSpPr/>
      </dsp:nvSpPr>
      <dsp:spPr>
        <a:xfrm>
          <a:off x="0" y="2767901"/>
          <a:ext cx="5175384" cy="4612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a:latin typeface="+mn-lt"/>
              <a:cs typeface="Arial" panose="020B0604020202020204" pitchFamily="34" charset="0"/>
            </a:rPr>
            <a:t>Devices that enhance images for people with low vision</a:t>
          </a:r>
        </a:p>
      </dsp:txBody>
      <dsp:txXfrm>
        <a:off x="0" y="2767901"/>
        <a:ext cx="5175384" cy="461232"/>
      </dsp:txXfrm>
    </dsp:sp>
    <dsp:sp modelId="{53F5E5F0-33F7-4656-9E93-31A1BEB62276}">
      <dsp:nvSpPr>
        <dsp:cNvPr id="0" name=""/>
        <dsp:cNvSpPr/>
      </dsp:nvSpPr>
      <dsp:spPr>
        <a:xfrm>
          <a:off x="0" y="3229134"/>
          <a:ext cx="5175384" cy="0"/>
        </a:xfrm>
        <a:prstGeom prst="line">
          <a:avLst/>
        </a:prstGeom>
        <a:solidFill>
          <a:schemeClr val="accent4">
            <a:hueOff val="0"/>
            <a:satOff val="0"/>
            <a:lumOff val="0"/>
            <a:alphaOff val="0"/>
          </a:schemeClr>
        </a:solidFill>
        <a:ln w="15875"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6FB9994-82D3-45FD-992D-EBCCC28F7571}">
      <dsp:nvSpPr>
        <dsp:cNvPr id="0" name=""/>
        <dsp:cNvSpPr/>
      </dsp:nvSpPr>
      <dsp:spPr>
        <a:xfrm>
          <a:off x="0" y="3229134"/>
          <a:ext cx="5175384" cy="4612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a:latin typeface="+mn-lt"/>
              <a:cs typeface="Arial" panose="020B0604020202020204" pitchFamily="34" charset="0"/>
            </a:rPr>
            <a:t>Voice activation of lights, appliances, doors, </a:t>
          </a:r>
          <a:r>
            <a:rPr lang="en-US" sz="1700" kern="1200" err="1">
              <a:latin typeface="+mn-lt"/>
              <a:cs typeface="Arial" panose="020B0604020202020204" pitchFamily="34" charset="0"/>
            </a:rPr>
            <a:t>etc</a:t>
          </a:r>
          <a:endParaRPr lang="en-US" sz="1700" kern="1200">
            <a:latin typeface="+mn-lt"/>
            <a:cs typeface="Arial" panose="020B0604020202020204" pitchFamily="34" charset="0"/>
          </a:endParaRPr>
        </a:p>
      </dsp:txBody>
      <dsp:txXfrm>
        <a:off x="0" y="3229134"/>
        <a:ext cx="5175384" cy="461232"/>
      </dsp:txXfrm>
    </dsp:sp>
    <dsp:sp modelId="{3A87A91B-BDB8-4DC9-A43E-F286195BED51}">
      <dsp:nvSpPr>
        <dsp:cNvPr id="0" name=""/>
        <dsp:cNvSpPr/>
      </dsp:nvSpPr>
      <dsp:spPr>
        <a:xfrm>
          <a:off x="0" y="3690366"/>
          <a:ext cx="5175384" cy="0"/>
        </a:xfrm>
        <a:prstGeom prst="line">
          <a:avLst/>
        </a:prstGeom>
        <a:solidFill>
          <a:schemeClr val="accent5">
            <a:hueOff val="0"/>
            <a:satOff val="0"/>
            <a:lumOff val="0"/>
            <a:alphaOff val="0"/>
          </a:schemeClr>
        </a:solidFill>
        <a:ln w="1587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1D3F64-DACC-4641-916B-7C6FC1618CAD}">
      <dsp:nvSpPr>
        <dsp:cNvPr id="0" name=""/>
        <dsp:cNvSpPr/>
      </dsp:nvSpPr>
      <dsp:spPr>
        <a:xfrm>
          <a:off x="0" y="3690366"/>
          <a:ext cx="5175384" cy="4612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marL="0" lvl="0" indent="0" algn="l" defTabSz="755650">
            <a:lnSpc>
              <a:spcPct val="90000"/>
            </a:lnSpc>
            <a:spcBef>
              <a:spcPct val="0"/>
            </a:spcBef>
            <a:spcAft>
              <a:spcPct val="35000"/>
            </a:spcAft>
            <a:buNone/>
          </a:pPr>
          <a:r>
            <a:rPr lang="en-US" sz="1700" kern="1200">
              <a:latin typeface="+mn-lt"/>
              <a:cs typeface="Arial" panose="020B0604020202020204" pitchFamily="34" charset="0"/>
            </a:rPr>
            <a:t>Hand-held computer devices</a:t>
          </a:r>
        </a:p>
      </dsp:txBody>
      <dsp:txXfrm>
        <a:off x="0" y="3690366"/>
        <a:ext cx="5175384" cy="46123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E579EC-6757-431A-B349-F79389F0E925}">
      <dsp:nvSpPr>
        <dsp:cNvPr id="0" name=""/>
        <dsp:cNvSpPr/>
      </dsp:nvSpPr>
      <dsp:spPr>
        <a:xfrm>
          <a:off x="481140" y="763031"/>
          <a:ext cx="783896" cy="78389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3197B51-33EF-47F1-A2A6-B77C193F208E}">
      <dsp:nvSpPr>
        <dsp:cNvPr id="0" name=""/>
        <dsp:cNvSpPr/>
      </dsp:nvSpPr>
      <dsp:spPr>
        <a:xfrm>
          <a:off x="2092" y="1808315"/>
          <a:ext cx="1741992" cy="696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a:t>Increased Remote Support Capabilities</a:t>
          </a:r>
        </a:p>
      </dsp:txBody>
      <dsp:txXfrm>
        <a:off x="2092" y="1808315"/>
        <a:ext cx="1741992" cy="696796"/>
      </dsp:txXfrm>
    </dsp:sp>
    <dsp:sp modelId="{C4369F07-946A-4A22-B525-8B7678762830}">
      <dsp:nvSpPr>
        <dsp:cNvPr id="0" name=""/>
        <dsp:cNvSpPr/>
      </dsp:nvSpPr>
      <dsp:spPr>
        <a:xfrm>
          <a:off x="2527981" y="763031"/>
          <a:ext cx="783896" cy="78389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5D971A9-E3FA-4980-B54B-989F50825D8B}">
      <dsp:nvSpPr>
        <dsp:cNvPr id="0" name=""/>
        <dsp:cNvSpPr/>
      </dsp:nvSpPr>
      <dsp:spPr>
        <a:xfrm>
          <a:off x="2048933" y="1808315"/>
          <a:ext cx="1741992" cy="696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a:t>Medication Management Systems</a:t>
          </a:r>
        </a:p>
      </dsp:txBody>
      <dsp:txXfrm>
        <a:off x="2048933" y="1808315"/>
        <a:ext cx="1741992" cy="696796"/>
      </dsp:txXfrm>
    </dsp:sp>
    <dsp:sp modelId="{2954243B-562C-4B6B-9797-D1C52E3D294C}">
      <dsp:nvSpPr>
        <dsp:cNvPr id="0" name=""/>
        <dsp:cNvSpPr/>
      </dsp:nvSpPr>
      <dsp:spPr>
        <a:xfrm>
          <a:off x="4574822" y="763031"/>
          <a:ext cx="783896" cy="78389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A8E7BB0-C396-4630-87B4-30DA30C39215}">
      <dsp:nvSpPr>
        <dsp:cNvPr id="0" name=""/>
        <dsp:cNvSpPr/>
      </dsp:nvSpPr>
      <dsp:spPr>
        <a:xfrm>
          <a:off x="4095774" y="1808315"/>
          <a:ext cx="1741992" cy="696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a:t>Biometric Health Monitoring to address Fatal 5</a:t>
          </a:r>
        </a:p>
      </dsp:txBody>
      <dsp:txXfrm>
        <a:off x="4095774" y="1808315"/>
        <a:ext cx="1741992" cy="696796"/>
      </dsp:txXfrm>
    </dsp:sp>
    <dsp:sp modelId="{D354A078-4D7F-474B-BC60-0F493D2DBF71}">
      <dsp:nvSpPr>
        <dsp:cNvPr id="0" name=""/>
        <dsp:cNvSpPr/>
      </dsp:nvSpPr>
      <dsp:spPr>
        <a:xfrm>
          <a:off x="6621662" y="763031"/>
          <a:ext cx="783896" cy="78389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D814079-005B-4715-9864-284F98D41CF3}">
      <dsp:nvSpPr>
        <dsp:cNvPr id="0" name=""/>
        <dsp:cNvSpPr/>
      </dsp:nvSpPr>
      <dsp:spPr>
        <a:xfrm>
          <a:off x="6142615" y="1808315"/>
          <a:ext cx="1741992" cy="6967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a:t>Automated documentation</a:t>
          </a:r>
        </a:p>
      </dsp:txBody>
      <dsp:txXfrm>
        <a:off x="6142615" y="1808315"/>
        <a:ext cx="1741992" cy="69679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8066" name="Rectangle 2"/>
          <p:cNvSpPr>
            <a:spLocks noGrp="1" noChangeArrowheads="1"/>
          </p:cNvSpPr>
          <p:nvPr>
            <p:ph type="hdr" sz="quarter"/>
          </p:nvPr>
        </p:nvSpPr>
        <p:spPr bwMode="auto">
          <a:xfrm>
            <a:off x="3"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t" anchorCtr="0" compatLnSpc="1">
            <a:prstTxWarp prst="textNoShape">
              <a:avLst/>
            </a:prstTxWarp>
          </a:bodyPr>
          <a:lstStyle>
            <a:lvl1pPr>
              <a:defRPr sz="1200"/>
            </a:lvl1pPr>
          </a:lstStyle>
          <a:p>
            <a:endParaRPr lang="en-US" altLang="en-US"/>
          </a:p>
        </p:txBody>
      </p:sp>
      <p:sp>
        <p:nvSpPr>
          <p:cNvPr id="88067" name="Rectangle 3"/>
          <p:cNvSpPr>
            <a:spLocks noGrp="1" noChangeArrowheads="1"/>
          </p:cNvSpPr>
          <p:nvPr>
            <p:ph type="dt" sz="quarter" idx="1"/>
          </p:nvPr>
        </p:nvSpPr>
        <p:spPr bwMode="auto">
          <a:xfrm>
            <a:off x="3971184"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t" anchorCtr="0" compatLnSpc="1">
            <a:prstTxWarp prst="textNoShape">
              <a:avLst/>
            </a:prstTxWarp>
          </a:bodyPr>
          <a:lstStyle>
            <a:lvl1pPr algn="r">
              <a:defRPr sz="1200"/>
            </a:lvl1pPr>
          </a:lstStyle>
          <a:p>
            <a:endParaRPr lang="en-US" altLang="en-US"/>
          </a:p>
        </p:txBody>
      </p:sp>
      <p:sp>
        <p:nvSpPr>
          <p:cNvPr id="88068" name="Rectangle 4"/>
          <p:cNvSpPr>
            <a:spLocks noGrp="1" noChangeArrowheads="1"/>
          </p:cNvSpPr>
          <p:nvPr>
            <p:ph type="ftr" sz="quarter" idx="2"/>
          </p:nvPr>
        </p:nvSpPr>
        <p:spPr bwMode="auto">
          <a:xfrm>
            <a:off x="3"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b" anchorCtr="0" compatLnSpc="1">
            <a:prstTxWarp prst="textNoShape">
              <a:avLst/>
            </a:prstTxWarp>
          </a:bodyPr>
          <a:lstStyle>
            <a:lvl1pPr>
              <a:defRPr sz="1200"/>
            </a:lvl1pPr>
          </a:lstStyle>
          <a:p>
            <a:endParaRPr lang="en-US" altLang="en-US"/>
          </a:p>
        </p:txBody>
      </p:sp>
      <p:sp>
        <p:nvSpPr>
          <p:cNvPr id="88069" name="Rectangle 5"/>
          <p:cNvSpPr>
            <a:spLocks noGrp="1" noChangeArrowheads="1"/>
          </p:cNvSpPr>
          <p:nvPr>
            <p:ph type="sldNum" sz="quarter" idx="3"/>
          </p:nvPr>
        </p:nvSpPr>
        <p:spPr bwMode="auto">
          <a:xfrm>
            <a:off x="3971184"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0" tIns="45696" rIns="91390" bIns="45696" numCol="1" anchor="b" anchorCtr="0" compatLnSpc="1">
            <a:prstTxWarp prst="textNoShape">
              <a:avLst/>
            </a:prstTxWarp>
          </a:bodyPr>
          <a:lstStyle>
            <a:lvl1pPr algn="r">
              <a:defRPr sz="1200"/>
            </a:lvl1pPr>
          </a:lstStyle>
          <a:p>
            <a:fld id="{19E112F1-4A45-43B9-BB85-63530C6FFA71}" type="slidenum">
              <a:rPr lang="en-US" altLang="en-US"/>
              <a:pPr/>
              <a:t>‹#›</a:t>
            </a:fld>
            <a:endParaRPr lang="en-US" altLang="en-US"/>
          </a:p>
        </p:txBody>
      </p:sp>
    </p:spTree>
    <p:extLst>
      <p:ext uri="{BB962C8B-B14F-4D97-AF65-F5344CB8AC3E}">
        <p14:creationId xmlns:p14="http://schemas.microsoft.com/office/powerpoint/2010/main" val="1576813914"/>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hdr" sz="quarter"/>
          </p:nvPr>
        </p:nvSpPr>
        <p:spPr bwMode="auto">
          <a:xfrm>
            <a:off x="3"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t" anchorCtr="0" compatLnSpc="1">
            <a:prstTxWarp prst="textNoShape">
              <a:avLst/>
            </a:prstTxWarp>
          </a:bodyPr>
          <a:lstStyle>
            <a:lvl1pPr defTabSz="929876">
              <a:defRPr sz="1200"/>
            </a:lvl1pPr>
          </a:lstStyle>
          <a:p>
            <a:endParaRPr lang="en-US" altLang="en-US"/>
          </a:p>
        </p:txBody>
      </p:sp>
      <p:sp>
        <p:nvSpPr>
          <p:cNvPr id="17411" name="Rectangle 3"/>
          <p:cNvSpPr>
            <a:spLocks noGrp="1" noChangeArrowheads="1"/>
          </p:cNvSpPr>
          <p:nvPr>
            <p:ph type="dt" idx="1"/>
          </p:nvPr>
        </p:nvSpPr>
        <p:spPr bwMode="auto">
          <a:xfrm>
            <a:off x="3971184" y="3"/>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t" anchorCtr="0" compatLnSpc="1">
            <a:prstTxWarp prst="textNoShape">
              <a:avLst/>
            </a:prstTxWarp>
          </a:bodyPr>
          <a:lstStyle>
            <a:lvl1pPr algn="r" defTabSz="929876">
              <a:defRPr sz="1200"/>
            </a:lvl1pPr>
          </a:lstStyle>
          <a:p>
            <a:endParaRPr lang="en-US" altLang="en-US"/>
          </a:p>
        </p:txBody>
      </p:sp>
      <p:sp>
        <p:nvSpPr>
          <p:cNvPr id="17412"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7413" name="Rectangle 5"/>
          <p:cNvSpPr>
            <a:spLocks noGrp="1" noChangeArrowheads="1"/>
          </p:cNvSpPr>
          <p:nvPr>
            <p:ph type="body" sz="quarter" idx="3"/>
          </p:nvPr>
        </p:nvSpPr>
        <p:spPr bwMode="auto">
          <a:xfrm>
            <a:off x="701360" y="4415793"/>
            <a:ext cx="5607684" cy="4183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7414" name="Rectangle 6"/>
          <p:cNvSpPr>
            <a:spLocks noGrp="1" noChangeArrowheads="1"/>
          </p:cNvSpPr>
          <p:nvPr>
            <p:ph type="ftr" sz="quarter" idx="4"/>
          </p:nvPr>
        </p:nvSpPr>
        <p:spPr bwMode="auto">
          <a:xfrm>
            <a:off x="3"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b" anchorCtr="0" compatLnSpc="1">
            <a:prstTxWarp prst="textNoShape">
              <a:avLst/>
            </a:prstTxWarp>
          </a:bodyPr>
          <a:lstStyle>
            <a:lvl1pPr defTabSz="929876">
              <a:defRPr sz="1200"/>
            </a:lvl1pPr>
          </a:lstStyle>
          <a:p>
            <a:endParaRPr lang="en-US" altLang="en-US"/>
          </a:p>
        </p:txBody>
      </p:sp>
      <p:sp>
        <p:nvSpPr>
          <p:cNvPr id="17415" name="Rectangle 7"/>
          <p:cNvSpPr>
            <a:spLocks noGrp="1" noChangeArrowheads="1"/>
          </p:cNvSpPr>
          <p:nvPr>
            <p:ph type="sldNum" sz="quarter" idx="5"/>
          </p:nvPr>
        </p:nvSpPr>
        <p:spPr bwMode="auto">
          <a:xfrm>
            <a:off x="3971184" y="8829991"/>
            <a:ext cx="3037628" cy="464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98" tIns="46449" rIns="92898" bIns="46449" numCol="1" anchor="b" anchorCtr="0" compatLnSpc="1">
            <a:prstTxWarp prst="textNoShape">
              <a:avLst/>
            </a:prstTxWarp>
          </a:bodyPr>
          <a:lstStyle>
            <a:lvl1pPr algn="r" defTabSz="929876">
              <a:defRPr sz="1200"/>
            </a:lvl1pPr>
          </a:lstStyle>
          <a:p>
            <a:fld id="{598F580E-CA0A-4FFE-90EC-00961EC1CEE1}" type="slidenum">
              <a:rPr lang="en-US" altLang="en-US"/>
              <a:pPr/>
              <a:t>‹#›</a:t>
            </a:fld>
            <a:endParaRPr lang="en-US" altLang="en-US"/>
          </a:p>
        </p:txBody>
      </p:sp>
    </p:spTree>
    <p:extLst>
      <p:ext uri="{BB962C8B-B14F-4D97-AF65-F5344CB8AC3E}">
        <p14:creationId xmlns:p14="http://schemas.microsoft.com/office/powerpoint/2010/main" val="3379216322"/>
      </p:ext>
    </p:extLst>
  </p:cSld>
  <p:clrMap bg1="lt1" tx1="dk1" bg2="lt2" tx2="dk2" accent1="accent1" accent2="accent2" accent3="accent3" accent4="accent4" accent5="accent5" accent6="accent6" hlink="hlink" folHlink="folHlink"/>
  <p:hf sldNum="0" hdr="0" dt="0"/>
  <p:notesStyle>
    <a:lvl1pPr algn="l" rtl="0" fontAlgn="base">
      <a:spcBef>
        <a:spcPct val="30000"/>
      </a:spcBef>
      <a:spcAft>
        <a:spcPct val="0"/>
      </a:spcAft>
      <a:defRPr sz="1200" kern="1200">
        <a:solidFill>
          <a:schemeClr val="tx1"/>
        </a:solidFill>
        <a:latin typeface="Arial" charset="0"/>
        <a:ea typeface="+mn-ea"/>
        <a:cs typeface="+mn-cs"/>
      </a:defRPr>
    </a:lvl1pPr>
    <a:lvl2pPr marL="457152" algn="l" rtl="0" fontAlgn="base">
      <a:spcBef>
        <a:spcPct val="30000"/>
      </a:spcBef>
      <a:spcAft>
        <a:spcPct val="0"/>
      </a:spcAft>
      <a:defRPr sz="1200" kern="1200">
        <a:solidFill>
          <a:schemeClr val="tx1"/>
        </a:solidFill>
        <a:latin typeface="Arial" charset="0"/>
        <a:ea typeface="+mn-ea"/>
        <a:cs typeface="+mn-cs"/>
      </a:defRPr>
    </a:lvl2pPr>
    <a:lvl3pPr marL="914303" algn="l" rtl="0" fontAlgn="base">
      <a:spcBef>
        <a:spcPct val="30000"/>
      </a:spcBef>
      <a:spcAft>
        <a:spcPct val="0"/>
      </a:spcAft>
      <a:defRPr sz="1200" kern="1200">
        <a:solidFill>
          <a:schemeClr val="tx1"/>
        </a:solidFill>
        <a:latin typeface="Arial" charset="0"/>
        <a:ea typeface="+mn-ea"/>
        <a:cs typeface="+mn-cs"/>
      </a:defRPr>
    </a:lvl3pPr>
    <a:lvl4pPr marL="1371455" algn="l" rtl="0" fontAlgn="base">
      <a:spcBef>
        <a:spcPct val="30000"/>
      </a:spcBef>
      <a:spcAft>
        <a:spcPct val="0"/>
      </a:spcAft>
      <a:defRPr sz="1200" kern="1200">
        <a:solidFill>
          <a:schemeClr val="tx1"/>
        </a:solidFill>
        <a:latin typeface="Arial" charset="0"/>
        <a:ea typeface="+mn-ea"/>
        <a:cs typeface="+mn-cs"/>
      </a:defRPr>
    </a:lvl4pPr>
    <a:lvl5pPr marL="1828606" algn="l" rtl="0" fontAlgn="base">
      <a:spcBef>
        <a:spcPct val="30000"/>
      </a:spcBef>
      <a:spcAft>
        <a:spcPct val="0"/>
      </a:spcAft>
      <a:defRPr sz="1200" kern="1200">
        <a:solidFill>
          <a:schemeClr val="tx1"/>
        </a:solidFill>
        <a:latin typeface="Arial" charset="0"/>
        <a:ea typeface="+mn-ea"/>
        <a:cs typeface="+mn-cs"/>
      </a:defRPr>
    </a:lvl5pPr>
    <a:lvl6pPr marL="2285758" algn="l" defTabSz="914303" rtl="0" eaLnBrk="1" latinLnBrk="0" hangingPunct="1">
      <a:defRPr sz="1200" kern="1200">
        <a:solidFill>
          <a:schemeClr val="tx1"/>
        </a:solidFill>
        <a:latin typeface="+mn-lt"/>
        <a:ea typeface="+mn-ea"/>
        <a:cs typeface="+mn-cs"/>
      </a:defRPr>
    </a:lvl6pPr>
    <a:lvl7pPr marL="2742909" algn="l" defTabSz="914303" rtl="0" eaLnBrk="1" latinLnBrk="0" hangingPunct="1">
      <a:defRPr sz="1200" kern="1200">
        <a:solidFill>
          <a:schemeClr val="tx1"/>
        </a:solidFill>
        <a:latin typeface="+mn-lt"/>
        <a:ea typeface="+mn-ea"/>
        <a:cs typeface="+mn-cs"/>
      </a:defRPr>
    </a:lvl7pPr>
    <a:lvl8pPr marL="3200061" algn="l" defTabSz="914303" rtl="0" eaLnBrk="1" latinLnBrk="0" hangingPunct="1">
      <a:defRPr sz="1200" kern="1200">
        <a:solidFill>
          <a:schemeClr val="tx1"/>
        </a:solidFill>
        <a:latin typeface="+mn-lt"/>
        <a:ea typeface="+mn-ea"/>
        <a:cs typeface="+mn-cs"/>
      </a:defRPr>
    </a:lvl8pPr>
    <a:lvl9pPr marL="3657212" algn="l" defTabSz="9143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pPr marL="0" marR="0" lvl="0" indent="0" algn="l" defTabSz="929876"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55520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a:t>*There is a major gap in access to tech in general for people w IDD. </a:t>
            </a:r>
          </a:p>
          <a:p>
            <a:r>
              <a:rPr lang="en-US" b="1"/>
              <a:t>While life is increasingly more dependent people with intellectual and developmental disabilities. This creates a gap in access to vocational, social opportunities.</a:t>
            </a:r>
          </a:p>
          <a:p>
            <a:r>
              <a:rPr lang="en-US" b="1" err="1"/>
              <a:t>Exascerbated</a:t>
            </a:r>
            <a:r>
              <a:rPr lang="en-US" b="1"/>
              <a:t> in adult setting…….</a:t>
            </a:r>
          </a:p>
          <a:p>
            <a:endParaRPr lang="en-US" b="1"/>
          </a:p>
          <a:p>
            <a:r>
              <a:rPr lang="en-US" b="1"/>
              <a:t>Go through barriers</a:t>
            </a:r>
          </a:p>
          <a:p>
            <a:endParaRPr lang="en-US" b="1"/>
          </a:p>
          <a:p>
            <a:r>
              <a:rPr lang="en-US">
                <a:latin typeface="Arial"/>
                <a:ea typeface="Source Sans Pro Light"/>
                <a:cs typeface="Arial"/>
              </a:rPr>
              <a:t>Policy – AT is afterthought</a:t>
            </a:r>
            <a:endParaRPr lang="en-US">
              <a:ea typeface="Source Sans Pro Light"/>
            </a:endParaRPr>
          </a:p>
          <a:p>
            <a:r>
              <a:rPr lang="en-US">
                <a:latin typeface="Arial"/>
                <a:ea typeface="Source Sans Pro Light"/>
                <a:cs typeface="Arial"/>
              </a:rPr>
              <a:t>Funding– hard to navigate and expensive</a:t>
            </a:r>
          </a:p>
          <a:p>
            <a:r>
              <a:rPr lang="en-US">
                <a:latin typeface="Arial"/>
                <a:ea typeface="Source Sans Pro Light"/>
                <a:cs typeface="Arial"/>
              </a:rPr>
              <a:t>Lack of Access to Assessment</a:t>
            </a:r>
          </a:p>
          <a:p>
            <a:r>
              <a:rPr lang="en-US">
                <a:latin typeface="Arial"/>
                <a:ea typeface="Source Sans Pro Light"/>
                <a:cs typeface="Arial"/>
              </a:rPr>
              <a:t>Unawareness/Lack of training– among support providers</a:t>
            </a:r>
            <a:endParaRPr lang="en-US">
              <a:ea typeface="Source Sans Pro Light"/>
            </a:endParaRPr>
          </a:p>
          <a:p>
            <a:r>
              <a:rPr lang="en-US">
                <a:latin typeface="Arial"/>
                <a:ea typeface="Source Sans Pro Light"/>
                <a:cs typeface="Arial"/>
              </a:rPr>
              <a:t>Understudied—lack of research</a:t>
            </a:r>
          </a:p>
          <a:p>
            <a:endParaRPr lang="en-US" b="1"/>
          </a:p>
          <a:p>
            <a:endParaRPr lang="en-US"/>
          </a:p>
          <a:p>
            <a:r>
              <a:rPr lang="en-US" b="1">
                <a:cs typeface="Calibri"/>
              </a:rPr>
              <a:t>Sarah just pointed to some of the needs of the people we serve.</a:t>
            </a:r>
            <a:r>
              <a:rPr lang="en-US">
                <a:cs typeface="Calibri"/>
              </a:rPr>
              <a:t> </a:t>
            </a:r>
          </a:p>
          <a:p>
            <a:r>
              <a:rPr lang="en-US">
                <a:cs typeface="Calibri"/>
              </a:rPr>
              <a:t>For those </a:t>
            </a:r>
            <a:r>
              <a:rPr lang="en-US" err="1">
                <a:cs typeface="Calibri"/>
              </a:rPr>
              <a:t>those</a:t>
            </a:r>
            <a:r>
              <a:rPr lang="en-US">
                <a:cs typeface="Calibri"/>
              </a:rPr>
              <a:t> who require 24/7 support often have even more limited access. </a:t>
            </a:r>
          </a:p>
          <a:p>
            <a:r>
              <a:rPr lang="en-US">
                <a:cs typeface="Calibri"/>
              </a:rPr>
              <a:t>Less </a:t>
            </a:r>
            <a:r>
              <a:rPr lang="en-US" b="1">
                <a:cs typeface="Calibri"/>
              </a:rPr>
              <a:t>opportunity for self-advocacy. And there is often over-support by staff.</a:t>
            </a:r>
          </a:p>
          <a:p>
            <a:endParaRPr lang="en-US">
              <a:cs typeface="Calibri"/>
            </a:endParaRPr>
          </a:p>
          <a:p>
            <a:r>
              <a:rPr lang="en-US">
                <a:cs typeface="Calibri"/>
              </a:rPr>
              <a:t>Sustaining is often more difficult because of </a:t>
            </a:r>
            <a:r>
              <a:rPr lang="en-US" b="1">
                <a:cs typeface="Calibri"/>
              </a:rPr>
              <a:t>staffing, changing staffing, lack of buy-in, and training</a:t>
            </a:r>
          </a:p>
          <a:p>
            <a:endParaRPr lang="en-US" b="1">
              <a:cs typeface="Calibri"/>
            </a:endParaRPr>
          </a:p>
          <a:p>
            <a:r>
              <a:rPr lang="en-US" b="1">
                <a:cs typeface="Calibri"/>
              </a:rPr>
              <a:t>To complicate this: Projected 125% </a:t>
            </a:r>
            <a:r>
              <a:rPr lang="en-US">
                <a:cs typeface="Calibri"/>
              </a:rPr>
              <a:t>quickly increasing population in need of services and major staffing issues and the need for AT is significant</a:t>
            </a:r>
          </a:p>
          <a:p>
            <a:r>
              <a:rPr lang="en-US">
                <a:cs typeface="Calibri"/>
              </a:rPr>
              <a:t>The good news is there is cheaper mainstream tech</a:t>
            </a:r>
            <a:endParaRPr lang="en-US"/>
          </a:p>
          <a:p>
            <a:endParaRPr lang="en-US">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C7662-5951-D64E-9170-BBDD05D100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68303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b="1"/>
              <a:t>*There is a major gap in access to tech in general for people w IDD. </a:t>
            </a:r>
          </a:p>
          <a:p>
            <a:r>
              <a:rPr lang="en-US" b="1"/>
              <a:t>While life is increasingly more dependent people with intellectual and developmental disabilities. This creates a gap in access to vocational, social opportunities.</a:t>
            </a:r>
          </a:p>
          <a:p>
            <a:r>
              <a:rPr lang="en-US" b="1" err="1"/>
              <a:t>Exascerbated</a:t>
            </a:r>
            <a:r>
              <a:rPr lang="en-US" b="1"/>
              <a:t> in adult setting…….</a:t>
            </a:r>
          </a:p>
          <a:p>
            <a:endParaRPr lang="en-US" b="1"/>
          </a:p>
          <a:p>
            <a:r>
              <a:rPr lang="en-US" b="1"/>
              <a:t>Go through barriers</a:t>
            </a:r>
          </a:p>
          <a:p>
            <a:endParaRPr lang="en-US" b="1"/>
          </a:p>
          <a:p>
            <a:r>
              <a:rPr lang="en-US">
                <a:latin typeface="Arial"/>
                <a:ea typeface="Source Sans Pro Light"/>
                <a:cs typeface="Arial"/>
              </a:rPr>
              <a:t>Policy – AT is afterthought</a:t>
            </a:r>
            <a:endParaRPr lang="en-US">
              <a:ea typeface="Source Sans Pro Light"/>
            </a:endParaRPr>
          </a:p>
          <a:p>
            <a:r>
              <a:rPr lang="en-US">
                <a:latin typeface="Arial"/>
                <a:ea typeface="Source Sans Pro Light"/>
                <a:cs typeface="Arial"/>
              </a:rPr>
              <a:t>Funding– hard to navigate and expensive</a:t>
            </a:r>
          </a:p>
          <a:p>
            <a:r>
              <a:rPr lang="en-US">
                <a:latin typeface="Arial"/>
                <a:ea typeface="Source Sans Pro Light"/>
                <a:cs typeface="Arial"/>
              </a:rPr>
              <a:t>Lack of Access to Assessment</a:t>
            </a:r>
          </a:p>
          <a:p>
            <a:r>
              <a:rPr lang="en-US">
                <a:latin typeface="Arial"/>
                <a:ea typeface="Source Sans Pro Light"/>
                <a:cs typeface="Arial"/>
              </a:rPr>
              <a:t>Unawareness/Lack of training– among support providers</a:t>
            </a:r>
            <a:endParaRPr lang="en-US">
              <a:ea typeface="Source Sans Pro Light"/>
            </a:endParaRPr>
          </a:p>
          <a:p>
            <a:r>
              <a:rPr lang="en-US">
                <a:latin typeface="Arial"/>
                <a:ea typeface="Source Sans Pro Light"/>
                <a:cs typeface="Arial"/>
              </a:rPr>
              <a:t>Understudied—lack of research</a:t>
            </a:r>
          </a:p>
          <a:p>
            <a:endParaRPr lang="en-US" b="1"/>
          </a:p>
          <a:p>
            <a:endParaRPr lang="en-US"/>
          </a:p>
          <a:p>
            <a:r>
              <a:rPr lang="en-US" b="1">
                <a:cs typeface="Calibri"/>
              </a:rPr>
              <a:t>Sarah just pointed to some of the needs of the people we serve.</a:t>
            </a:r>
            <a:r>
              <a:rPr lang="en-US">
                <a:cs typeface="Calibri"/>
              </a:rPr>
              <a:t> </a:t>
            </a:r>
          </a:p>
          <a:p>
            <a:r>
              <a:rPr lang="en-US">
                <a:cs typeface="Calibri"/>
              </a:rPr>
              <a:t>For those </a:t>
            </a:r>
            <a:r>
              <a:rPr lang="en-US" err="1">
                <a:cs typeface="Calibri"/>
              </a:rPr>
              <a:t>those</a:t>
            </a:r>
            <a:r>
              <a:rPr lang="en-US">
                <a:cs typeface="Calibri"/>
              </a:rPr>
              <a:t> who require 24/7 support often have even more limited access. </a:t>
            </a:r>
          </a:p>
          <a:p>
            <a:r>
              <a:rPr lang="en-US">
                <a:cs typeface="Calibri"/>
              </a:rPr>
              <a:t>Less </a:t>
            </a:r>
            <a:r>
              <a:rPr lang="en-US" b="1">
                <a:cs typeface="Calibri"/>
              </a:rPr>
              <a:t>opportunity for self-advocacy. And there is often over-support by staff.</a:t>
            </a:r>
          </a:p>
          <a:p>
            <a:endParaRPr lang="en-US">
              <a:cs typeface="Calibri"/>
            </a:endParaRPr>
          </a:p>
          <a:p>
            <a:r>
              <a:rPr lang="en-US">
                <a:cs typeface="Calibri"/>
              </a:rPr>
              <a:t>Sustaining is often more difficult because of </a:t>
            </a:r>
            <a:r>
              <a:rPr lang="en-US" b="1">
                <a:cs typeface="Calibri"/>
              </a:rPr>
              <a:t>staffing, changing staffing, lack of buy-in, and training</a:t>
            </a:r>
          </a:p>
          <a:p>
            <a:endParaRPr lang="en-US" b="1">
              <a:cs typeface="Calibri"/>
            </a:endParaRPr>
          </a:p>
          <a:p>
            <a:r>
              <a:rPr lang="en-US" b="1">
                <a:cs typeface="Calibri"/>
              </a:rPr>
              <a:t>To complicate this: Projected 125% </a:t>
            </a:r>
            <a:r>
              <a:rPr lang="en-US">
                <a:cs typeface="Calibri"/>
              </a:rPr>
              <a:t>quickly increasing population in need of services and major staffing issues and the need for AT is significant</a:t>
            </a:r>
          </a:p>
          <a:p>
            <a:r>
              <a:rPr lang="en-US">
                <a:cs typeface="Calibri"/>
              </a:rPr>
              <a:t>The good news is there is cheaper mainstream tech</a:t>
            </a:r>
            <a:endParaRPr lang="en-US"/>
          </a:p>
          <a:p>
            <a:endParaRPr lang="en-US">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C7662-5951-D64E-9170-BBDD05D100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68303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41AD65-5E66-48A7-B03D-C4A3688560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07543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nverbal/ major health inequiti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41AD65-5E66-48A7-B03D-C4A3688560A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41331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Footer Placeholder 5"/>
          <p:cNvSpPr>
            <a:spLocks noGrp="1"/>
          </p:cNvSpPr>
          <p:nvPr>
            <p:ph type="ftr" sz="quarter" idx="10"/>
          </p:nvPr>
        </p:nvSpPr>
        <p:spPr/>
        <p:txBody>
          <a:bodyPr/>
          <a:lstStyle/>
          <a:p>
            <a:endParaRPr lang="en-US" altLang="en-US"/>
          </a:p>
        </p:txBody>
      </p:sp>
    </p:spTree>
    <p:extLst>
      <p:ext uri="{BB962C8B-B14F-4D97-AF65-F5344CB8AC3E}">
        <p14:creationId xmlns:p14="http://schemas.microsoft.com/office/powerpoint/2010/main" val="7855358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0.xml"/><Relationship Id="rId4" Type="http://schemas.openxmlformats.org/officeDocument/2006/relationships/image" Target="../media/image1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21.xml"/><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41.xml"/><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42.xml"/><Relationship Id="rId4" Type="http://schemas.openxmlformats.org/officeDocument/2006/relationships/image" Target="../media/image12.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62.xml"/><Relationship Id="rId4" Type="http://schemas.openxmlformats.org/officeDocument/2006/relationships/image" Target="../media/image1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9.xml"/><Relationship Id="rId1" Type="http://schemas.openxmlformats.org/officeDocument/2006/relationships/tags" Target="../tags/tag63.xml"/><Relationship Id="rId4" Type="http://schemas.openxmlformats.org/officeDocument/2006/relationships/image" Target="../media/image12.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83" name="Line 11"/>
          <p:cNvSpPr>
            <a:spLocks noChangeShapeType="1"/>
          </p:cNvSpPr>
          <p:nvPr/>
        </p:nvSpPr>
        <p:spPr bwMode="auto">
          <a:xfrm>
            <a:off x="2319777" y="3752850"/>
            <a:ext cx="5943600"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6993"/>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hasCustomPrompt="1"/>
          </p:nvPr>
        </p:nvSpPr>
        <p:spPr>
          <a:xfrm>
            <a:off x="2256631" y="1798017"/>
            <a:ext cx="6069891" cy="1843430"/>
          </a:xfrm>
          <a:prstGeom prst="rect">
            <a:avLst/>
          </a:prstGeom>
        </p:spPr>
        <p:txBody>
          <a:bodyPr lIns="91430" tIns="45716" rIns="91430" bIns="45716" anchor="ctr"/>
          <a:lstStyle>
            <a:lvl1pPr>
              <a:lnSpc>
                <a:spcPct val="100000"/>
              </a:lnSpc>
              <a:spcAft>
                <a:spcPts val="612"/>
              </a:spcAft>
              <a:defRPr sz="2800" i="0" baseline="0">
                <a:solidFill>
                  <a:schemeClr val="accent3">
                    <a:lumMod val="50000"/>
                  </a:schemeClr>
                </a:solidFill>
              </a:defRPr>
            </a:lvl1pP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
        <p:nvSpPr>
          <p:cNvPr id="3" name="Text Placeholder 2"/>
          <p:cNvSpPr>
            <a:spLocks noGrp="1"/>
          </p:cNvSpPr>
          <p:nvPr>
            <p:ph type="body" sz="quarter" idx="10" hasCustomPrompt="1"/>
          </p:nvPr>
        </p:nvSpPr>
        <p:spPr>
          <a:xfrm>
            <a:off x="3767577" y="3864254"/>
            <a:ext cx="4572000" cy="457200"/>
          </a:xfrm>
          <a:prstGeom prst="rect">
            <a:avLst/>
          </a:prstGeom>
        </p:spPr>
        <p:txBody>
          <a:bodyPr lIns="0" tIns="0" rIns="0" bIns="0" anchor="ctr" anchorCtr="0"/>
          <a:lstStyle>
            <a:lvl1pPr marL="0" indent="0" algn="r">
              <a:buNone/>
              <a:defRPr sz="1800" baseline="0">
                <a:solidFill>
                  <a:srgbClr val="00269E"/>
                </a:solidFill>
                <a:latin typeface="Arial" panose="020B0604020202020204" pitchFamily="34" charset="0"/>
                <a:cs typeface="Arial" panose="020B0604020202020204" pitchFamily="34" charset="0"/>
              </a:defRPr>
            </a:lvl1pPr>
          </a:lstStyle>
          <a:p>
            <a:pPr lvl="0"/>
            <a:r>
              <a:rPr lang="en-US" sz="1800">
                <a:latin typeface="Arial" panose="020B0604020202020204" pitchFamily="34" charset="0"/>
                <a:cs typeface="Arial" panose="020B0604020202020204" pitchFamily="34" charset="0"/>
              </a:rPr>
              <a:t>CLICK TO ADD ISSUE TITLE</a:t>
            </a:r>
            <a:endParaRPr lang="en-US"/>
          </a:p>
        </p:txBody>
      </p:sp>
      <p:sp>
        <p:nvSpPr>
          <p:cNvPr id="12" name="Text Placeholder 2"/>
          <p:cNvSpPr>
            <a:spLocks noGrp="1"/>
          </p:cNvSpPr>
          <p:nvPr>
            <p:ph type="body" sz="quarter" idx="11" hasCustomPrompt="1"/>
          </p:nvPr>
        </p:nvSpPr>
        <p:spPr>
          <a:xfrm>
            <a:off x="3767577" y="4381499"/>
            <a:ext cx="4572000" cy="457200"/>
          </a:xfrm>
          <a:prstGeom prst="rect">
            <a:avLst/>
          </a:prstGeom>
        </p:spPr>
        <p:txBody>
          <a:bodyPr lIns="0" tIns="0" rIns="0" bIns="0" anchor="ctr" anchorCtr="0"/>
          <a:lstStyle>
            <a:lvl1pPr marL="0" indent="0" algn="r">
              <a:buNone/>
              <a:defRPr sz="1400" b="0" i="1" baseline="0">
                <a:solidFill>
                  <a:schemeClr val="accent3">
                    <a:lumMod val="50000"/>
                  </a:schemeClr>
                </a:solidFill>
                <a:latin typeface="Arial" panose="020B0604020202020204" pitchFamily="34" charset="0"/>
                <a:cs typeface="Arial" panose="020B0604020202020204" pitchFamily="34" charset="0"/>
              </a:defRPr>
            </a:lvl1pPr>
          </a:lstStyle>
          <a:p>
            <a:pPr lvl="0"/>
            <a:r>
              <a:rPr lang="en-US"/>
              <a:t>Click to add date (e.g. June 30, 2017)</a:t>
            </a: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ueBoxed">
    <p:spTree>
      <p:nvGrpSpPr>
        <p:cNvPr id="1" name=""/>
        <p:cNvGrpSpPr/>
        <p:nvPr/>
      </p:nvGrpSpPr>
      <p:grpSpPr>
        <a:xfrm>
          <a:off x="0" y="0"/>
          <a:ext cx="0" cy="0"/>
          <a:chOff x="0" y="0"/>
          <a:chExt cx="0" cy="0"/>
        </a:xfrm>
      </p:grpSpPr>
      <p:sp>
        <p:nvSpPr>
          <p:cNvPr id="6" name="Content Placeholder 8"/>
          <p:cNvSpPr>
            <a:spLocks noGrp="1"/>
          </p:cNvSpPr>
          <p:nvPr>
            <p:ph sz="quarter" idx="14"/>
          </p:nvPr>
        </p:nvSpPr>
        <p:spPr>
          <a:xfrm>
            <a:off x="228701" y="1737059"/>
            <a:ext cx="8686800" cy="45720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4"/>
          <p:cNvSpPr>
            <a:spLocks noGrp="1"/>
          </p:cNvSpPr>
          <p:nvPr>
            <p:ph type="body" sz="quarter" idx="16" hasCustomPrompt="1"/>
          </p:nvPr>
        </p:nvSpPr>
        <p:spPr>
          <a:xfrm>
            <a:off x="228701" y="1279858"/>
            <a:ext cx="8686800" cy="457200"/>
          </a:xfrm>
          <a:prstGeom prst="rect">
            <a:avLst/>
          </a:prstGeom>
          <a:solidFill>
            <a:schemeClr val="accent1">
              <a:lumMod val="50000"/>
            </a:schemeClr>
          </a:solidFill>
          <a:ln>
            <a:solidFill>
              <a:schemeClr val="tx1"/>
            </a:solidFill>
          </a:ln>
        </p:spPr>
        <p:txBody>
          <a:bodyPr lIns="91430" tIns="457152" rIns="91430" bIns="457152" anchor="ctr" anchorCtr="0"/>
          <a:lstStyle>
            <a:lvl1pPr marL="0" indent="0">
              <a:buNone/>
              <a:defRPr sz="1400" b="1" baseline="0">
                <a:solidFill>
                  <a:schemeClr val="bg1"/>
                </a:solidFill>
                <a:latin typeface="Arial" panose="020B0604020202020204" pitchFamily="34" charset="0"/>
                <a:cs typeface="Arial" panose="020B0604020202020204" pitchFamily="34" charset="0"/>
              </a:defRPr>
            </a:lvl1pPr>
          </a:lstStyle>
          <a:p>
            <a:pPr lvl="0"/>
            <a:r>
              <a:rPr lang="en-US"/>
              <a:t>Click to add subtitle</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0"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14642283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F328E5A9-3E96-A456-5CB0-A372980ABD6D}"/>
              </a:ext>
            </a:extLst>
          </p:cNvPr>
          <p:cNvSpPr>
            <a:spLocks noGrp="1"/>
          </p:cNvSpPr>
          <p:nvPr>
            <p:ph type="body" sz="quarter" idx="14"/>
          </p:nvPr>
        </p:nvSpPr>
        <p:spPr>
          <a:xfrm>
            <a:off x="545709" y="3282697"/>
            <a:ext cx="1572769" cy="1857619"/>
          </a:xfrm>
          <a:custGeom>
            <a:avLst/>
            <a:gdLst>
              <a:gd name="connsiteX0" fmla="*/ 0 w 2097025"/>
              <a:gd name="connsiteY0" fmla="*/ 0 h 1857619"/>
              <a:gd name="connsiteX1" fmla="*/ 2097025 w 2097025"/>
              <a:gd name="connsiteY1" fmla="*/ 2 h 1857619"/>
              <a:gd name="connsiteX2" fmla="*/ 2097025 w 2097025"/>
              <a:gd name="connsiteY2" fmla="*/ 1686565 h 1857619"/>
              <a:gd name="connsiteX3" fmla="*/ 1925971 w 2097025"/>
              <a:gd name="connsiteY3" fmla="*/ 1857619 h 1857619"/>
              <a:gd name="connsiteX4" fmla="*/ 171054 w 2097025"/>
              <a:gd name="connsiteY4" fmla="*/ 1857619 h 1857619"/>
              <a:gd name="connsiteX5" fmla="*/ 0 w 2097025"/>
              <a:gd name="connsiteY5" fmla="*/ 1686565 h 185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7025" h="1857619">
                <a:moveTo>
                  <a:pt x="0" y="0"/>
                </a:moveTo>
                <a:lnTo>
                  <a:pt x="2097025" y="2"/>
                </a:lnTo>
                <a:lnTo>
                  <a:pt x="2097025" y="1686565"/>
                </a:lnTo>
                <a:cubicBezTo>
                  <a:pt x="2097025" y="1781036"/>
                  <a:pt x="2020442" y="1857619"/>
                  <a:pt x="1925971" y="1857619"/>
                </a:cubicBezTo>
                <a:lnTo>
                  <a:pt x="171054" y="1857619"/>
                </a:lnTo>
                <a:cubicBezTo>
                  <a:pt x="76583" y="1857619"/>
                  <a:pt x="0" y="1781036"/>
                  <a:pt x="0" y="1686565"/>
                </a:cubicBezTo>
                <a:close/>
              </a:path>
            </a:pathLst>
          </a:custGeom>
          <a:solidFill>
            <a:schemeClr val="accent6">
              <a:lumMod val="20000"/>
              <a:lumOff val="80000"/>
            </a:schemeClr>
          </a:solidFill>
        </p:spPr>
        <p:txBody>
          <a:bodyPr wrap="square" lIns="256032" tIns="182880">
            <a:noAutofit/>
          </a:bodyPr>
          <a:lstStyle>
            <a:lvl1pPr marL="0" indent="0">
              <a:lnSpc>
                <a:spcPts val="1560"/>
              </a:lnSpc>
              <a:buNone/>
              <a:defRPr sz="1050"/>
            </a:lvl1pPr>
          </a:lstStyle>
          <a:p>
            <a:pPr lvl="0"/>
            <a:r>
              <a:rPr lang="en-US"/>
              <a:t>Click to edit Master text styles</a:t>
            </a:r>
          </a:p>
        </p:txBody>
      </p:sp>
      <p:sp>
        <p:nvSpPr>
          <p:cNvPr id="2" name="Title 1">
            <a:extLst>
              <a:ext uri="{FF2B5EF4-FFF2-40B4-BE49-F238E27FC236}">
                <a16:creationId xmlns:a16="http://schemas.microsoft.com/office/drawing/2014/main" id="{4B2F7D74-558F-4816-9367-4004FFA2B6A4}"/>
              </a:ext>
            </a:extLst>
          </p:cNvPr>
          <p:cNvSpPr>
            <a:spLocks noGrp="1"/>
          </p:cNvSpPr>
          <p:nvPr>
            <p:ph type="title"/>
          </p:nvPr>
        </p:nvSpPr>
        <p:spPr/>
        <p:txBody>
          <a:bodyPr>
            <a:noAutofit/>
          </a:bodyPr>
          <a:lstStyle>
            <a:lvl1pPr algn="ctr">
              <a:defRPr/>
            </a:lvl1pPr>
          </a:lstStyle>
          <a:p>
            <a:r>
              <a:rPr lang="en-US"/>
              <a:t>Click to edit Master title style</a:t>
            </a:r>
          </a:p>
        </p:txBody>
      </p:sp>
      <p:sp>
        <p:nvSpPr>
          <p:cNvPr id="30" name="Footer Placeholder 5">
            <a:extLst>
              <a:ext uri="{FF2B5EF4-FFF2-40B4-BE49-F238E27FC236}">
                <a16:creationId xmlns:a16="http://schemas.microsoft.com/office/drawing/2014/main" id="{53128DA0-531E-7131-B5DA-D9EC1CEABF7C}"/>
              </a:ext>
            </a:extLst>
          </p:cNvPr>
          <p:cNvSpPr>
            <a:spLocks noGrp="1"/>
          </p:cNvSpPr>
          <p:nvPr>
            <p:ph type="ftr" sz="quarter" idx="11"/>
          </p:nvPr>
        </p:nvSpPr>
        <p:spPr>
          <a:xfrm>
            <a:off x="294894" y="6281928"/>
            <a:ext cx="1837944" cy="274320"/>
          </a:xfrm>
          <a:prstGeom prst="rect">
            <a:avLst/>
          </a:prstGeom>
        </p:spPr>
        <p:txBody>
          <a:bodyPr>
            <a:noAutofit/>
          </a:bodyPr>
          <a:lstStyle>
            <a:lvl1pPr algn="l">
              <a:defRPr/>
            </a:lvl1pPr>
          </a:lstStyle>
          <a:p>
            <a:r>
              <a:rPr lang="en-US"/>
              <a:t>Contoso grand opening event</a:t>
            </a:r>
          </a:p>
        </p:txBody>
      </p:sp>
      <p:sp>
        <p:nvSpPr>
          <p:cNvPr id="9" name="Text Placeholder 8">
            <a:extLst>
              <a:ext uri="{FF2B5EF4-FFF2-40B4-BE49-F238E27FC236}">
                <a16:creationId xmlns:a16="http://schemas.microsoft.com/office/drawing/2014/main" id="{C404936C-01DF-E460-1652-953D803A5642}"/>
              </a:ext>
            </a:extLst>
          </p:cNvPr>
          <p:cNvSpPr>
            <a:spLocks noGrp="1"/>
          </p:cNvSpPr>
          <p:nvPr>
            <p:ph type="body" sz="quarter" idx="13"/>
          </p:nvPr>
        </p:nvSpPr>
        <p:spPr>
          <a:xfrm>
            <a:off x="546187" y="1810512"/>
            <a:ext cx="1572769" cy="1444540"/>
          </a:xfrm>
          <a:custGeom>
            <a:avLst/>
            <a:gdLst>
              <a:gd name="connsiteX0" fmla="*/ 171054 w 2097025"/>
              <a:gd name="connsiteY0" fmla="*/ 0 h 1444540"/>
              <a:gd name="connsiteX1" fmla="*/ 1925971 w 2097025"/>
              <a:gd name="connsiteY1" fmla="*/ 0 h 1444540"/>
              <a:gd name="connsiteX2" fmla="*/ 2097025 w 2097025"/>
              <a:gd name="connsiteY2" fmla="*/ 202990 h 1444540"/>
              <a:gd name="connsiteX3" fmla="*/ 2097025 w 2097025"/>
              <a:gd name="connsiteY3" fmla="*/ 1444540 h 1444540"/>
              <a:gd name="connsiteX4" fmla="*/ 0 w 2097025"/>
              <a:gd name="connsiteY4" fmla="*/ 1444540 h 1444540"/>
              <a:gd name="connsiteX5" fmla="*/ 0 w 2097025"/>
              <a:gd name="connsiteY5" fmla="*/ 202990 h 1444540"/>
              <a:gd name="connsiteX6" fmla="*/ 171054 w 2097025"/>
              <a:gd name="connsiteY6" fmla="*/ 0 h 144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7025" h="1444540">
                <a:moveTo>
                  <a:pt x="171054" y="0"/>
                </a:moveTo>
                <a:lnTo>
                  <a:pt x="1925971" y="0"/>
                </a:lnTo>
                <a:cubicBezTo>
                  <a:pt x="2020442" y="0"/>
                  <a:pt x="2097025" y="90881"/>
                  <a:pt x="2097025" y="202990"/>
                </a:cubicBezTo>
                <a:lnTo>
                  <a:pt x="2097025" y="1444540"/>
                </a:lnTo>
                <a:lnTo>
                  <a:pt x="0" y="1444540"/>
                </a:lnTo>
                <a:lnTo>
                  <a:pt x="0" y="202990"/>
                </a:lnTo>
                <a:cubicBezTo>
                  <a:pt x="0" y="90881"/>
                  <a:pt x="76583" y="0"/>
                  <a:pt x="171054" y="0"/>
                </a:cubicBezTo>
                <a:close/>
              </a:path>
            </a:pathLst>
          </a:custGeom>
          <a:solidFill>
            <a:schemeClr val="accent6"/>
          </a:solidFill>
        </p:spPr>
        <p:txBody>
          <a:bodyPr wrap="square" tIns="914400">
            <a:noAutofit/>
          </a:bodyPr>
          <a:lstStyle>
            <a:lvl1pPr marL="0" indent="0" algn="ctr">
              <a:lnSpc>
                <a:spcPct val="100000"/>
              </a:lnSpc>
              <a:buNone/>
              <a:defRPr sz="1350" b="1">
                <a:solidFill>
                  <a:schemeClr val="bg1"/>
                </a:solidFill>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13" name="Text Placeholder 12">
            <a:extLst>
              <a:ext uri="{FF2B5EF4-FFF2-40B4-BE49-F238E27FC236}">
                <a16:creationId xmlns:a16="http://schemas.microsoft.com/office/drawing/2014/main" id="{EEECA5FF-4198-40C6-E409-683E3CFE4D6E}"/>
              </a:ext>
            </a:extLst>
          </p:cNvPr>
          <p:cNvSpPr>
            <a:spLocks noGrp="1"/>
          </p:cNvSpPr>
          <p:nvPr>
            <p:ph type="body" sz="quarter" idx="15"/>
          </p:nvPr>
        </p:nvSpPr>
        <p:spPr>
          <a:xfrm>
            <a:off x="2166644" y="3282697"/>
            <a:ext cx="1572769" cy="1857619"/>
          </a:xfrm>
          <a:custGeom>
            <a:avLst/>
            <a:gdLst>
              <a:gd name="connsiteX0" fmla="*/ 0 w 2097025"/>
              <a:gd name="connsiteY0" fmla="*/ 0 h 1857619"/>
              <a:gd name="connsiteX1" fmla="*/ 2097025 w 2097025"/>
              <a:gd name="connsiteY1" fmla="*/ 2 h 1857619"/>
              <a:gd name="connsiteX2" fmla="*/ 2097025 w 2097025"/>
              <a:gd name="connsiteY2" fmla="*/ 1686565 h 1857619"/>
              <a:gd name="connsiteX3" fmla="*/ 1925971 w 2097025"/>
              <a:gd name="connsiteY3" fmla="*/ 1857619 h 1857619"/>
              <a:gd name="connsiteX4" fmla="*/ 171054 w 2097025"/>
              <a:gd name="connsiteY4" fmla="*/ 1857619 h 1857619"/>
              <a:gd name="connsiteX5" fmla="*/ 0 w 2097025"/>
              <a:gd name="connsiteY5" fmla="*/ 1686565 h 185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7025" h="1857619">
                <a:moveTo>
                  <a:pt x="0" y="0"/>
                </a:moveTo>
                <a:lnTo>
                  <a:pt x="2097025" y="2"/>
                </a:lnTo>
                <a:lnTo>
                  <a:pt x="2097025" y="1686565"/>
                </a:lnTo>
                <a:cubicBezTo>
                  <a:pt x="2097025" y="1781036"/>
                  <a:pt x="2020442" y="1857619"/>
                  <a:pt x="1925971" y="1857619"/>
                </a:cubicBezTo>
                <a:lnTo>
                  <a:pt x="171054" y="1857619"/>
                </a:lnTo>
                <a:cubicBezTo>
                  <a:pt x="76583" y="1857619"/>
                  <a:pt x="0" y="1781036"/>
                  <a:pt x="0" y="1686565"/>
                </a:cubicBezTo>
                <a:close/>
              </a:path>
            </a:pathLst>
          </a:custGeom>
          <a:solidFill>
            <a:schemeClr val="accent5">
              <a:lumMod val="20000"/>
              <a:lumOff val="80000"/>
            </a:schemeClr>
          </a:solidFill>
        </p:spPr>
        <p:txBody>
          <a:bodyPr wrap="square" lIns="256032" tIns="182880">
            <a:noAutofit/>
          </a:bodyPr>
          <a:lstStyle>
            <a:lvl1pPr marL="0" indent="0">
              <a:lnSpc>
                <a:spcPts val="1560"/>
              </a:lnSpc>
              <a:buNone/>
              <a:defRPr sz="1050"/>
            </a:lvl1pPr>
          </a:lstStyle>
          <a:p>
            <a:pPr lvl="0"/>
            <a:r>
              <a:rPr lang="en-US"/>
              <a:t>Click to edit Master text styles</a:t>
            </a:r>
          </a:p>
        </p:txBody>
      </p:sp>
      <p:sp>
        <p:nvSpPr>
          <p:cNvPr id="21" name="Text Placeholder 20">
            <a:extLst>
              <a:ext uri="{FF2B5EF4-FFF2-40B4-BE49-F238E27FC236}">
                <a16:creationId xmlns:a16="http://schemas.microsoft.com/office/drawing/2014/main" id="{EA25738D-5FC9-11BE-6A39-BCC099F5E3F3}"/>
              </a:ext>
            </a:extLst>
          </p:cNvPr>
          <p:cNvSpPr>
            <a:spLocks noGrp="1"/>
          </p:cNvSpPr>
          <p:nvPr>
            <p:ph type="body" sz="quarter" idx="16"/>
          </p:nvPr>
        </p:nvSpPr>
        <p:spPr>
          <a:xfrm>
            <a:off x="2167003" y="1810512"/>
            <a:ext cx="1572769" cy="1444540"/>
          </a:xfrm>
          <a:custGeom>
            <a:avLst/>
            <a:gdLst>
              <a:gd name="connsiteX0" fmla="*/ 171054 w 2097025"/>
              <a:gd name="connsiteY0" fmla="*/ 0 h 1444540"/>
              <a:gd name="connsiteX1" fmla="*/ 1925971 w 2097025"/>
              <a:gd name="connsiteY1" fmla="*/ 0 h 1444540"/>
              <a:gd name="connsiteX2" fmla="*/ 2097025 w 2097025"/>
              <a:gd name="connsiteY2" fmla="*/ 202990 h 1444540"/>
              <a:gd name="connsiteX3" fmla="*/ 2097025 w 2097025"/>
              <a:gd name="connsiteY3" fmla="*/ 1444540 h 1444540"/>
              <a:gd name="connsiteX4" fmla="*/ 0 w 2097025"/>
              <a:gd name="connsiteY4" fmla="*/ 1444540 h 1444540"/>
              <a:gd name="connsiteX5" fmla="*/ 0 w 2097025"/>
              <a:gd name="connsiteY5" fmla="*/ 202990 h 1444540"/>
              <a:gd name="connsiteX6" fmla="*/ 171054 w 2097025"/>
              <a:gd name="connsiteY6" fmla="*/ 0 h 144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7025" h="1444540">
                <a:moveTo>
                  <a:pt x="171054" y="0"/>
                </a:moveTo>
                <a:lnTo>
                  <a:pt x="1925971" y="0"/>
                </a:lnTo>
                <a:cubicBezTo>
                  <a:pt x="2020442" y="0"/>
                  <a:pt x="2097025" y="90881"/>
                  <a:pt x="2097025" y="202990"/>
                </a:cubicBezTo>
                <a:lnTo>
                  <a:pt x="2097025" y="1444540"/>
                </a:lnTo>
                <a:lnTo>
                  <a:pt x="0" y="1444540"/>
                </a:lnTo>
                <a:lnTo>
                  <a:pt x="0" y="202990"/>
                </a:lnTo>
                <a:cubicBezTo>
                  <a:pt x="0" y="90881"/>
                  <a:pt x="76583" y="0"/>
                  <a:pt x="171054" y="0"/>
                </a:cubicBezTo>
                <a:close/>
              </a:path>
            </a:pathLst>
          </a:custGeom>
          <a:solidFill>
            <a:schemeClr val="accent5"/>
          </a:solidFill>
        </p:spPr>
        <p:txBody>
          <a:bodyPr wrap="square" tIns="914400">
            <a:noAutofit/>
          </a:bodyPr>
          <a:lstStyle>
            <a:lvl1pPr marL="0" indent="0" algn="ctr">
              <a:lnSpc>
                <a:spcPct val="100000"/>
              </a:lnSpc>
              <a:buNone/>
              <a:defRPr sz="1350" b="1">
                <a:solidFill>
                  <a:schemeClr val="bg1"/>
                </a:solidFill>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31" name="Text Placeholder 30">
            <a:extLst>
              <a:ext uri="{FF2B5EF4-FFF2-40B4-BE49-F238E27FC236}">
                <a16:creationId xmlns:a16="http://schemas.microsoft.com/office/drawing/2014/main" id="{D00068B6-2B22-347E-06EB-68CB7507CDBC}"/>
              </a:ext>
            </a:extLst>
          </p:cNvPr>
          <p:cNvSpPr>
            <a:spLocks noGrp="1"/>
          </p:cNvSpPr>
          <p:nvPr>
            <p:ph type="body" sz="quarter" idx="17"/>
          </p:nvPr>
        </p:nvSpPr>
        <p:spPr>
          <a:xfrm>
            <a:off x="3787579" y="3282697"/>
            <a:ext cx="1572769" cy="1857619"/>
          </a:xfrm>
          <a:custGeom>
            <a:avLst/>
            <a:gdLst>
              <a:gd name="connsiteX0" fmla="*/ 0 w 2097025"/>
              <a:gd name="connsiteY0" fmla="*/ 0 h 1857619"/>
              <a:gd name="connsiteX1" fmla="*/ 2097025 w 2097025"/>
              <a:gd name="connsiteY1" fmla="*/ 2 h 1857619"/>
              <a:gd name="connsiteX2" fmla="*/ 2097025 w 2097025"/>
              <a:gd name="connsiteY2" fmla="*/ 1686565 h 1857619"/>
              <a:gd name="connsiteX3" fmla="*/ 1925971 w 2097025"/>
              <a:gd name="connsiteY3" fmla="*/ 1857619 h 1857619"/>
              <a:gd name="connsiteX4" fmla="*/ 171054 w 2097025"/>
              <a:gd name="connsiteY4" fmla="*/ 1857619 h 1857619"/>
              <a:gd name="connsiteX5" fmla="*/ 0 w 2097025"/>
              <a:gd name="connsiteY5" fmla="*/ 1686565 h 185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7025" h="1857619">
                <a:moveTo>
                  <a:pt x="0" y="0"/>
                </a:moveTo>
                <a:lnTo>
                  <a:pt x="2097025" y="2"/>
                </a:lnTo>
                <a:lnTo>
                  <a:pt x="2097025" y="1686565"/>
                </a:lnTo>
                <a:cubicBezTo>
                  <a:pt x="2097025" y="1781036"/>
                  <a:pt x="2020442" y="1857619"/>
                  <a:pt x="1925971" y="1857619"/>
                </a:cubicBezTo>
                <a:lnTo>
                  <a:pt x="171054" y="1857619"/>
                </a:lnTo>
                <a:cubicBezTo>
                  <a:pt x="76583" y="1857619"/>
                  <a:pt x="0" y="1781036"/>
                  <a:pt x="0" y="1686565"/>
                </a:cubicBezTo>
                <a:close/>
              </a:path>
            </a:pathLst>
          </a:custGeom>
          <a:solidFill>
            <a:schemeClr val="accent3">
              <a:lumMod val="20000"/>
              <a:lumOff val="80000"/>
            </a:schemeClr>
          </a:solidFill>
        </p:spPr>
        <p:txBody>
          <a:bodyPr wrap="square" lIns="256032" tIns="182880">
            <a:noAutofit/>
          </a:bodyPr>
          <a:lstStyle>
            <a:lvl1pPr marL="0" indent="0">
              <a:lnSpc>
                <a:spcPts val="1560"/>
              </a:lnSpc>
              <a:buNone/>
              <a:defRPr sz="1050"/>
            </a:lvl1pPr>
          </a:lstStyle>
          <a:p>
            <a:pPr lvl="0"/>
            <a:r>
              <a:rPr lang="en-US"/>
              <a:t>Click to edit Master text styles</a:t>
            </a:r>
          </a:p>
        </p:txBody>
      </p:sp>
      <p:sp>
        <p:nvSpPr>
          <p:cNvPr id="32" name="Text Placeholder 31">
            <a:extLst>
              <a:ext uri="{FF2B5EF4-FFF2-40B4-BE49-F238E27FC236}">
                <a16:creationId xmlns:a16="http://schemas.microsoft.com/office/drawing/2014/main" id="{AD62E108-D9EF-788B-DB44-CA3DF01BC2D0}"/>
              </a:ext>
            </a:extLst>
          </p:cNvPr>
          <p:cNvSpPr>
            <a:spLocks noGrp="1"/>
          </p:cNvSpPr>
          <p:nvPr>
            <p:ph type="body" sz="quarter" idx="18"/>
          </p:nvPr>
        </p:nvSpPr>
        <p:spPr>
          <a:xfrm>
            <a:off x="3787819" y="1810512"/>
            <a:ext cx="1572769" cy="1444540"/>
          </a:xfrm>
          <a:custGeom>
            <a:avLst/>
            <a:gdLst>
              <a:gd name="connsiteX0" fmla="*/ 171054 w 2097025"/>
              <a:gd name="connsiteY0" fmla="*/ 0 h 1444540"/>
              <a:gd name="connsiteX1" fmla="*/ 1925971 w 2097025"/>
              <a:gd name="connsiteY1" fmla="*/ 0 h 1444540"/>
              <a:gd name="connsiteX2" fmla="*/ 2097025 w 2097025"/>
              <a:gd name="connsiteY2" fmla="*/ 202990 h 1444540"/>
              <a:gd name="connsiteX3" fmla="*/ 2097025 w 2097025"/>
              <a:gd name="connsiteY3" fmla="*/ 1444540 h 1444540"/>
              <a:gd name="connsiteX4" fmla="*/ 0 w 2097025"/>
              <a:gd name="connsiteY4" fmla="*/ 1444540 h 1444540"/>
              <a:gd name="connsiteX5" fmla="*/ 0 w 2097025"/>
              <a:gd name="connsiteY5" fmla="*/ 202990 h 1444540"/>
              <a:gd name="connsiteX6" fmla="*/ 171054 w 2097025"/>
              <a:gd name="connsiteY6" fmla="*/ 0 h 144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7025" h="1444540">
                <a:moveTo>
                  <a:pt x="171054" y="0"/>
                </a:moveTo>
                <a:lnTo>
                  <a:pt x="1925971" y="0"/>
                </a:lnTo>
                <a:cubicBezTo>
                  <a:pt x="2020442" y="0"/>
                  <a:pt x="2097025" y="90881"/>
                  <a:pt x="2097025" y="202990"/>
                </a:cubicBezTo>
                <a:lnTo>
                  <a:pt x="2097025" y="1444540"/>
                </a:lnTo>
                <a:lnTo>
                  <a:pt x="0" y="1444540"/>
                </a:lnTo>
                <a:lnTo>
                  <a:pt x="0" y="202990"/>
                </a:lnTo>
                <a:cubicBezTo>
                  <a:pt x="0" y="90881"/>
                  <a:pt x="76583" y="0"/>
                  <a:pt x="171054" y="0"/>
                </a:cubicBezTo>
                <a:close/>
              </a:path>
            </a:pathLst>
          </a:custGeom>
          <a:solidFill>
            <a:schemeClr val="accent4"/>
          </a:solidFill>
        </p:spPr>
        <p:txBody>
          <a:bodyPr wrap="square" tIns="914400">
            <a:noAutofit/>
          </a:bodyPr>
          <a:lstStyle>
            <a:lvl1pPr marL="0" indent="0" algn="ctr">
              <a:lnSpc>
                <a:spcPct val="100000"/>
              </a:lnSpc>
              <a:buNone/>
              <a:defRPr sz="1350" b="1">
                <a:solidFill>
                  <a:schemeClr val="bg1"/>
                </a:solidFill>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33" name="Text Placeholder 32">
            <a:extLst>
              <a:ext uri="{FF2B5EF4-FFF2-40B4-BE49-F238E27FC236}">
                <a16:creationId xmlns:a16="http://schemas.microsoft.com/office/drawing/2014/main" id="{1E5D52B6-2309-1A15-4155-7DAF8355AAD4}"/>
              </a:ext>
            </a:extLst>
          </p:cNvPr>
          <p:cNvSpPr>
            <a:spLocks noGrp="1"/>
          </p:cNvSpPr>
          <p:nvPr>
            <p:ph type="body" sz="quarter" idx="19"/>
          </p:nvPr>
        </p:nvSpPr>
        <p:spPr>
          <a:xfrm>
            <a:off x="5408514" y="3282697"/>
            <a:ext cx="1572769" cy="1857619"/>
          </a:xfrm>
          <a:custGeom>
            <a:avLst/>
            <a:gdLst>
              <a:gd name="connsiteX0" fmla="*/ 0 w 2097025"/>
              <a:gd name="connsiteY0" fmla="*/ 0 h 1857619"/>
              <a:gd name="connsiteX1" fmla="*/ 2097025 w 2097025"/>
              <a:gd name="connsiteY1" fmla="*/ 2 h 1857619"/>
              <a:gd name="connsiteX2" fmla="*/ 2097025 w 2097025"/>
              <a:gd name="connsiteY2" fmla="*/ 1686565 h 1857619"/>
              <a:gd name="connsiteX3" fmla="*/ 1925971 w 2097025"/>
              <a:gd name="connsiteY3" fmla="*/ 1857619 h 1857619"/>
              <a:gd name="connsiteX4" fmla="*/ 171054 w 2097025"/>
              <a:gd name="connsiteY4" fmla="*/ 1857619 h 1857619"/>
              <a:gd name="connsiteX5" fmla="*/ 0 w 2097025"/>
              <a:gd name="connsiteY5" fmla="*/ 1686565 h 185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7025" h="1857619">
                <a:moveTo>
                  <a:pt x="0" y="0"/>
                </a:moveTo>
                <a:lnTo>
                  <a:pt x="2097025" y="2"/>
                </a:lnTo>
                <a:lnTo>
                  <a:pt x="2097025" y="1686565"/>
                </a:lnTo>
                <a:cubicBezTo>
                  <a:pt x="2097025" y="1781036"/>
                  <a:pt x="2020442" y="1857619"/>
                  <a:pt x="1925971" y="1857619"/>
                </a:cubicBezTo>
                <a:lnTo>
                  <a:pt x="171054" y="1857619"/>
                </a:lnTo>
                <a:cubicBezTo>
                  <a:pt x="76583" y="1857619"/>
                  <a:pt x="0" y="1781036"/>
                  <a:pt x="0" y="1686565"/>
                </a:cubicBezTo>
                <a:close/>
              </a:path>
            </a:pathLst>
          </a:custGeom>
          <a:solidFill>
            <a:schemeClr val="accent2">
              <a:lumMod val="20000"/>
              <a:lumOff val="80000"/>
            </a:schemeClr>
          </a:solidFill>
        </p:spPr>
        <p:txBody>
          <a:bodyPr wrap="square" lIns="256032" tIns="182880">
            <a:noAutofit/>
          </a:bodyPr>
          <a:lstStyle>
            <a:lvl1pPr marL="0" indent="0">
              <a:lnSpc>
                <a:spcPts val="1560"/>
              </a:lnSpc>
              <a:buNone/>
              <a:defRPr sz="1050"/>
            </a:lvl1pPr>
          </a:lstStyle>
          <a:p>
            <a:pPr lvl="0"/>
            <a:r>
              <a:rPr lang="en-US"/>
              <a:t>Click to edit Master text styles</a:t>
            </a:r>
          </a:p>
        </p:txBody>
      </p:sp>
      <p:sp>
        <p:nvSpPr>
          <p:cNvPr id="34" name="Text Placeholder 33">
            <a:extLst>
              <a:ext uri="{FF2B5EF4-FFF2-40B4-BE49-F238E27FC236}">
                <a16:creationId xmlns:a16="http://schemas.microsoft.com/office/drawing/2014/main" id="{984CC2A1-BD79-0EBA-018E-9C3FB7EFC55A}"/>
              </a:ext>
            </a:extLst>
          </p:cNvPr>
          <p:cNvSpPr>
            <a:spLocks noGrp="1"/>
          </p:cNvSpPr>
          <p:nvPr>
            <p:ph type="body" sz="quarter" idx="20"/>
          </p:nvPr>
        </p:nvSpPr>
        <p:spPr>
          <a:xfrm>
            <a:off x="5408635" y="1810512"/>
            <a:ext cx="1572769" cy="1444540"/>
          </a:xfrm>
          <a:custGeom>
            <a:avLst/>
            <a:gdLst>
              <a:gd name="connsiteX0" fmla="*/ 171054 w 2097025"/>
              <a:gd name="connsiteY0" fmla="*/ 0 h 1444540"/>
              <a:gd name="connsiteX1" fmla="*/ 1925971 w 2097025"/>
              <a:gd name="connsiteY1" fmla="*/ 0 h 1444540"/>
              <a:gd name="connsiteX2" fmla="*/ 2097025 w 2097025"/>
              <a:gd name="connsiteY2" fmla="*/ 202990 h 1444540"/>
              <a:gd name="connsiteX3" fmla="*/ 2097025 w 2097025"/>
              <a:gd name="connsiteY3" fmla="*/ 1444540 h 1444540"/>
              <a:gd name="connsiteX4" fmla="*/ 0 w 2097025"/>
              <a:gd name="connsiteY4" fmla="*/ 1444540 h 1444540"/>
              <a:gd name="connsiteX5" fmla="*/ 0 w 2097025"/>
              <a:gd name="connsiteY5" fmla="*/ 202990 h 1444540"/>
              <a:gd name="connsiteX6" fmla="*/ 171054 w 2097025"/>
              <a:gd name="connsiteY6" fmla="*/ 0 h 144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7025" h="1444540">
                <a:moveTo>
                  <a:pt x="171054" y="0"/>
                </a:moveTo>
                <a:lnTo>
                  <a:pt x="1925971" y="0"/>
                </a:lnTo>
                <a:cubicBezTo>
                  <a:pt x="2020442" y="0"/>
                  <a:pt x="2097025" y="90881"/>
                  <a:pt x="2097025" y="202990"/>
                </a:cubicBezTo>
                <a:lnTo>
                  <a:pt x="2097025" y="1444540"/>
                </a:lnTo>
                <a:lnTo>
                  <a:pt x="0" y="1444540"/>
                </a:lnTo>
                <a:lnTo>
                  <a:pt x="0" y="202990"/>
                </a:lnTo>
                <a:cubicBezTo>
                  <a:pt x="0" y="90881"/>
                  <a:pt x="76583" y="0"/>
                  <a:pt x="171054" y="0"/>
                </a:cubicBezTo>
                <a:close/>
              </a:path>
            </a:pathLst>
          </a:custGeom>
          <a:solidFill>
            <a:schemeClr val="accent2"/>
          </a:solidFill>
        </p:spPr>
        <p:txBody>
          <a:bodyPr wrap="square" tIns="914400">
            <a:noAutofit/>
          </a:bodyPr>
          <a:lstStyle>
            <a:lvl1pPr marL="0" indent="0" algn="ctr">
              <a:lnSpc>
                <a:spcPct val="100000"/>
              </a:lnSpc>
              <a:buNone/>
              <a:defRPr sz="1350" b="1">
                <a:solidFill>
                  <a:schemeClr val="bg1"/>
                </a:solidFill>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35" name="Text Placeholder 34">
            <a:extLst>
              <a:ext uri="{FF2B5EF4-FFF2-40B4-BE49-F238E27FC236}">
                <a16:creationId xmlns:a16="http://schemas.microsoft.com/office/drawing/2014/main" id="{402FD16F-52D5-C9B6-8A87-9377789853CB}"/>
              </a:ext>
            </a:extLst>
          </p:cNvPr>
          <p:cNvSpPr>
            <a:spLocks noGrp="1"/>
          </p:cNvSpPr>
          <p:nvPr>
            <p:ph type="body" sz="quarter" idx="21"/>
          </p:nvPr>
        </p:nvSpPr>
        <p:spPr>
          <a:xfrm>
            <a:off x="7029450" y="3282697"/>
            <a:ext cx="1572769" cy="1857619"/>
          </a:xfrm>
          <a:custGeom>
            <a:avLst/>
            <a:gdLst>
              <a:gd name="connsiteX0" fmla="*/ 0 w 2097025"/>
              <a:gd name="connsiteY0" fmla="*/ 0 h 1857619"/>
              <a:gd name="connsiteX1" fmla="*/ 2097025 w 2097025"/>
              <a:gd name="connsiteY1" fmla="*/ 2 h 1857619"/>
              <a:gd name="connsiteX2" fmla="*/ 2097025 w 2097025"/>
              <a:gd name="connsiteY2" fmla="*/ 1686565 h 1857619"/>
              <a:gd name="connsiteX3" fmla="*/ 1925971 w 2097025"/>
              <a:gd name="connsiteY3" fmla="*/ 1857619 h 1857619"/>
              <a:gd name="connsiteX4" fmla="*/ 171054 w 2097025"/>
              <a:gd name="connsiteY4" fmla="*/ 1857619 h 1857619"/>
              <a:gd name="connsiteX5" fmla="*/ 0 w 2097025"/>
              <a:gd name="connsiteY5" fmla="*/ 1686565 h 185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97025" h="1857619">
                <a:moveTo>
                  <a:pt x="0" y="0"/>
                </a:moveTo>
                <a:lnTo>
                  <a:pt x="2097025" y="2"/>
                </a:lnTo>
                <a:lnTo>
                  <a:pt x="2097025" y="1686565"/>
                </a:lnTo>
                <a:cubicBezTo>
                  <a:pt x="2097025" y="1781036"/>
                  <a:pt x="2020442" y="1857619"/>
                  <a:pt x="1925971" y="1857619"/>
                </a:cubicBezTo>
                <a:lnTo>
                  <a:pt x="171054" y="1857619"/>
                </a:lnTo>
                <a:cubicBezTo>
                  <a:pt x="76583" y="1857619"/>
                  <a:pt x="0" y="1781036"/>
                  <a:pt x="0" y="1686565"/>
                </a:cubicBezTo>
                <a:close/>
              </a:path>
            </a:pathLst>
          </a:custGeom>
          <a:solidFill>
            <a:schemeClr val="accent6">
              <a:lumMod val="20000"/>
              <a:lumOff val="80000"/>
            </a:schemeClr>
          </a:solidFill>
        </p:spPr>
        <p:txBody>
          <a:bodyPr wrap="square" lIns="256032" tIns="182880">
            <a:noAutofit/>
          </a:bodyPr>
          <a:lstStyle>
            <a:lvl1pPr marL="0" indent="0">
              <a:lnSpc>
                <a:spcPts val="1560"/>
              </a:lnSpc>
              <a:buNone/>
              <a:defRPr sz="1050"/>
            </a:lvl1pPr>
          </a:lstStyle>
          <a:p>
            <a:pPr lvl="0"/>
            <a:r>
              <a:rPr lang="en-US"/>
              <a:t>Click to edit Master text styles</a:t>
            </a:r>
          </a:p>
        </p:txBody>
      </p:sp>
      <p:sp>
        <p:nvSpPr>
          <p:cNvPr id="36" name="Text Placeholder 35">
            <a:extLst>
              <a:ext uri="{FF2B5EF4-FFF2-40B4-BE49-F238E27FC236}">
                <a16:creationId xmlns:a16="http://schemas.microsoft.com/office/drawing/2014/main" id="{D3C91DD1-C82F-9A24-2D28-0423C62D6BDE}"/>
              </a:ext>
            </a:extLst>
          </p:cNvPr>
          <p:cNvSpPr>
            <a:spLocks noGrp="1"/>
          </p:cNvSpPr>
          <p:nvPr>
            <p:ph type="body" sz="quarter" idx="22"/>
          </p:nvPr>
        </p:nvSpPr>
        <p:spPr>
          <a:xfrm>
            <a:off x="7029450" y="1810512"/>
            <a:ext cx="1572769" cy="1444540"/>
          </a:xfrm>
          <a:custGeom>
            <a:avLst/>
            <a:gdLst>
              <a:gd name="connsiteX0" fmla="*/ 171054 w 2097025"/>
              <a:gd name="connsiteY0" fmla="*/ 0 h 1444540"/>
              <a:gd name="connsiteX1" fmla="*/ 1925971 w 2097025"/>
              <a:gd name="connsiteY1" fmla="*/ 0 h 1444540"/>
              <a:gd name="connsiteX2" fmla="*/ 2097025 w 2097025"/>
              <a:gd name="connsiteY2" fmla="*/ 202990 h 1444540"/>
              <a:gd name="connsiteX3" fmla="*/ 2097025 w 2097025"/>
              <a:gd name="connsiteY3" fmla="*/ 1444540 h 1444540"/>
              <a:gd name="connsiteX4" fmla="*/ 0 w 2097025"/>
              <a:gd name="connsiteY4" fmla="*/ 1444540 h 1444540"/>
              <a:gd name="connsiteX5" fmla="*/ 0 w 2097025"/>
              <a:gd name="connsiteY5" fmla="*/ 202990 h 1444540"/>
              <a:gd name="connsiteX6" fmla="*/ 171054 w 2097025"/>
              <a:gd name="connsiteY6" fmla="*/ 0 h 144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7025" h="1444540">
                <a:moveTo>
                  <a:pt x="171054" y="0"/>
                </a:moveTo>
                <a:lnTo>
                  <a:pt x="1925971" y="0"/>
                </a:lnTo>
                <a:cubicBezTo>
                  <a:pt x="2020442" y="0"/>
                  <a:pt x="2097025" y="90881"/>
                  <a:pt x="2097025" y="202990"/>
                </a:cubicBezTo>
                <a:lnTo>
                  <a:pt x="2097025" y="1444540"/>
                </a:lnTo>
                <a:lnTo>
                  <a:pt x="0" y="1444540"/>
                </a:lnTo>
                <a:lnTo>
                  <a:pt x="0" y="202990"/>
                </a:lnTo>
                <a:cubicBezTo>
                  <a:pt x="0" y="90881"/>
                  <a:pt x="76583" y="0"/>
                  <a:pt x="171054" y="0"/>
                </a:cubicBezTo>
                <a:close/>
              </a:path>
            </a:pathLst>
          </a:custGeom>
          <a:solidFill>
            <a:schemeClr val="accent6"/>
          </a:solidFill>
        </p:spPr>
        <p:txBody>
          <a:bodyPr wrap="square" tIns="914400">
            <a:noAutofit/>
          </a:bodyPr>
          <a:lstStyle>
            <a:lvl1pPr marL="0" indent="0" algn="ctr">
              <a:lnSpc>
                <a:spcPct val="100000"/>
              </a:lnSpc>
              <a:buNone/>
              <a:defRPr sz="1350" b="1">
                <a:solidFill>
                  <a:schemeClr val="bg1"/>
                </a:solidFill>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42" name="Picture Placeholder 41">
            <a:extLst>
              <a:ext uri="{FF2B5EF4-FFF2-40B4-BE49-F238E27FC236}">
                <a16:creationId xmlns:a16="http://schemas.microsoft.com/office/drawing/2014/main" id="{2E75FE04-F1AE-7E14-6CE0-BE887CC0B700}"/>
              </a:ext>
            </a:extLst>
          </p:cNvPr>
          <p:cNvSpPr>
            <a:spLocks noGrp="1"/>
          </p:cNvSpPr>
          <p:nvPr>
            <p:ph type="pic" sz="quarter" idx="23"/>
          </p:nvPr>
        </p:nvSpPr>
        <p:spPr>
          <a:xfrm>
            <a:off x="1074917" y="1938528"/>
            <a:ext cx="514350" cy="685800"/>
          </a:xfrm>
        </p:spPr>
        <p:txBody>
          <a:bodyPr anchor="ctr">
            <a:noAutofit/>
          </a:bodyPr>
          <a:lstStyle>
            <a:lvl1pPr marL="0" indent="0" algn="ctr">
              <a:buNone/>
              <a:defRPr sz="788">
                <a:solidFill>
                  <a:schemeClr val="bg1"/>
                </a:solidFill>
              </a:defRPr>
            </a:lvl1pPr>
          </a:lstStyle>
          <a:p>
            <a:r>
              <a:rPr lang="en-US"/>
              <a:t>Click icon to add picture</a:t>
            </a:r>
          </a:p>
        </p:txBody>
      </p:sp>
      <p:sp>
        <p:nvSpPr>
          <p:cNvPr id="43" name="Picture Placeholder 41">
            <a:extLst>
              <a:ext uri="{FF2B5EF4-FFF2-40B4-BE49-F238E27FC236}">
                <a16:creationId xmlns:a16="http://schemas.microsoft.com/office/drawing/2014/main" id="{618F3EEF-DED6-D6EE-33B9-E400C17395DD}"/>
              </a:ext>
            </a:extLst>
          </p:cNvPr>
          <p:cNvSpPr>
            <a:spLocks noGrp="1"/>
          </p:cNvSpPr>
          <p:nvPr>
            <p:ph type="pic" sz="quarter" idx="24"/>
          </p:nvPr>
        </p:nvSpPr>
        <p:spPr>
          <a:xfrm>
            <a:off x="2695852" y="1938528"/>
            <a:ext cx="514350" cy="685800"/>
          </a:xfrm>
        </p:spPr>
        <p:txBody>
          <a:bodyPr anchor="ctr">
            <a:noAutofit/>
          </a:bodyPr>
          <a:lstStyle>
            <a:lvl1pPr marL="0" indent="0" algn="ctr">
              <a:buNone/>
              <a:defRPr sz="788">
                <a:solidFill>
                  <a:schemeClr val="bg1"/>
                </a:solidFill>
              </a:defRPr>
            </a:lvl1pPr>
          </a:lstStyle>
          <a:p>
            <a:r>
              <a:rPr lang="en-US"/>
              <a:t>Click icon to add picture</a:t>
            </a:r>
          </a:p>
        </p:txBody>
      </p:sp>
      <p:sp>
        <p:nvSpPr>
          <p:cNvPr id="44" name="Picture Placeholder 41">
            <a:extLst>
              <a:ext uri="{FF2B5EF4-FFF2-40B4-BE49-F238E27FC236}">
                <a16:creationId xmlns:a16="http://schemas.microsoft.com/office/drawing/2014/main" id="{FAF43AFC-F356-7C77-42ED-D04C1DCB1407}"/>
              </a:ext>
            </a:extLst>
          </p:cNvPr>
          <p:cNvSpPr>
            <a:spLocks noGrp="1"/>
          </p:cNvSpPr>
          <p:nvPr>
            <p:ph type="pic" sz="quarter" idx="25"/>
          </p:nvPr>
        </p:nvSpPr>
        <p:spPr>
          <a:xfrm>
            <a:off x="5937723" y="1938528"/>
            <a:ext cx="514350" cy="685800"/>
          </a:xfrm>
        </p:spPr>
        <p:txBody>
          <a:bodyPr anchor="ctr">
            <a:noAutofit/>
          </a:bodyPr>
          <a:lstStyle>
            <a:lvl1pPr marL="0" indent="0" algn="ctr">
              <a:buNone/>
              <a:defRPr sz="788">
                <a:solidFill>
                  <a:schemeClr val="bg1"/>
                </a:solidFill>
              </a:defRPr>
            </a:lvl1pPr>
          </a:lstStyle>
          <a:p>
            <a:r>
              <a:rPr lang="en-US"/>
              <a:t>Click icon to add picture</a:t>
            </a:r>
          </a:p>
        </p:txBody>
      </p:sp>
      <p:sp>
        <p:nvSpPr>
          <p:cNvPr id="45" name="Picture Placeholder 41">
            <a:extLst>
              <a:ext uri="{FF2B5EF4-FFF2-40B4-BE49-F238E27FC236}">
                <a16:creationId xmlns:a16="http://schemas.microsoft.com/office/drawing/2014/main" id="{B055C43A-5F91-E3E1-824B-3D9DBC46C990}"/>
              </a:ext>
            </a:extLst>
          </p:cNvPr>
          <p:cNvSpPr>
            <a:spLocks noGrp="1"/>
          </p:cNvSpPr>
          <p:nvPr>
            <p:ph type="pic" sz="quarter" idx="26"/>
          </p:nvPr>
        </p:nvSpPr>
        <p:spPr>
          <a:xfrm>
            <a:off x="7558659" y="1938528"/>
            <a:ext cx="514350" cy="685800"/>
          </a:xfrm>
        </p:spPr>
        <p:txBody>
          <a:bodyPr anchor="ctr">
            <a:noAutofit/>
          </a:bodyPr>
          <a:lstStyle>
            <a:lvl1pPr marL="0" indent="0" algn="ctr">
              <a:buNone/>
              <a:defRPr sz="788">
                <a:solidFill>
                  <a:schemeClr val="bg1"/>
                </a:solidFill>
              </a:defRPr>
            </a:lvl1pPr>
          </a:lstStyle>
          <a:p>
            <a:r>
              <a:rPr lang="en-US"/>
              <a:t>Click icon to add picture</a:t>
            </a:r>
          </a:p>
        </p:txBody>
      </p:sp>
      <p:sp>
        <p:nvSpPr>
          <p:cNvPr id="46" name="Picture Placeholder 41">
            <a:extLst>
              <a:ext uri="{FF2B5EF4-FFF2-40B4-BE49-F238E27FC236}">
                <a16:creationId xmlns:a16="http://schemas.microsoft.com/office/drawing/2014/main" id="{E5865370-14B5-B57B-793F-0939E43C797C}"/>
              </a:ext>
            </a:extLst>
          </p:cNvPr>
          <p:cNvSpPr>
            <a:spLocks noGrp="1"/>
          </p:cNvSpPr>
          <p:nvPr>
            <p:ph type="pic" sz="quarter" idx="27"/>
          </p:nvPr>
        </p:nvSpPr>
        <p:spPr>
          <a:xfrm>
            <a:off x="4345542" y="1938528"/>
            <a:ext cx="514350" cy="685800"/>
          </a:xfrm>
        </p:spPr>
        <p:txBody>
          <a:bodyPr anchor="ctr">
            <a:noAutofit/>
          </a:bodyPr>
          <a:lstStyle>
            <a:lvl1pPr marL="0" indent="0" algn="ctr">
              <a:buNone/>
              <a:defRPr sz="788">
                <a:solidFill>
                  <a:schemeClr val="bg1"/>
                </a:solidFill>
              </a:defRPr>
            </a:lvl1pPr>
          </a:lstStyle>
          <a:p>
            <a:r>
              <a:rPr lang="en-US"/>
              <a:t>Click icon to add picture</a:t>
            </a:r>
          </a:p>
        </p:txBody>
      </p:sp>
      <p:sp>
        <p:nvSpPr>
          <p:cNvPr id="3" name="Slide Number Placeholder 2">
            <a:extLst>
              <a:ext uri="{FF2B5EF4-FFF2-40B4-BE49-F238E27FC236}">
                <a16:creationId xmlns:a16="http://schemas.microsoft.com/office/drawing/2014/main" id="{7C04BCDD-1238-6F57-82E1-0907C9B0DF9A}"/>
              </a:ext>
            </a:extLst>
          </p:cNvPr>
          <p:cNvSpPr>
            <a:spLocks noGrp="1"/>
          </p:cNvSpPr>
          <p:nvPr>
            <p:ph type="sldNum" sz="quarter" idx="12"/>
          </p:nvPr>
        </p:nvSpPr>
        <p:spPr>
          <a:xfrm>
            <a:off x="8603799" y="6231541"/>
            <a:ext cx="283182" cy="346860"/>
          </a:xfrm>
          <a:custGeom>
            <a:avLst/>
            <a:gdLst>
              <a:gd name="connsiteX0" fmla="*/ 207164 w 377576"/>
              <a:gd name="connsiteY0" fmla="*/ 451 h 346860"/>
              <a:gd name="connsiteX1" fmla="*/ 333607 w 377576"/>
              <a:gd name="connsiteY1" fmla="*/ 282909 h 346860"/>
              <a:gd name="connsiteX2" fmla="*/ 2098 w 377576"/>
              <a:gd name="connsiteY2" fmla="*/ 226361 h 346860"/>
              <a:gd name="connsiteX3" fmla="*/ 207164 w 377576"/>
              <a:gd name="connsiteY3" fmla="*/ 451 h 346860"/>
            </a:gdLst>
            <a:ahLst/>
            <a:cxnLst>
              <a:cxn ang="0">
                <a:pos x="connsiteX0" y="connsiteY0"/>
              </a:cxn>
              <a:cxn ang="0">
                <a:pos x="connsiteX1" y="connsiteY1"/>
              </a:cxn>
              <a:cxn ang="0">
                <a:pos x="connsiteX2" y="connsiteY2"/>
              </a:cxn>
              <a:cxn ang="0">
                <a:pos x="connsiteX3" y="connsiteY3"/>
              </a:cxn>
            </a:cxnLst>
            <a:rect l="l" t="t" r="r" b="b"/>
            <a:pathLst>
              <a:path w="377576" h="346860">
                <a:moveTo>
                  <a:pt x="207164" y="451"/>
                </a:moveTo>
                <a:cubicBezTo>
                  <a:pt x="290586" y="11344"/>
                  <a:pt x="456827" y="130428"/>
                  <a:pt x="333607" y="282909"/>
                </a:cubicBezTo>
                <a:cubicBezTo>
                  <a:pt x="210386" y="435390"/>
                  <a:pt x="23172" y="273437"/>
                  <a:pt x="2098" y="226361"/>
                </a:cubicBezTo>
                <a:cubicBezTo>
                  <a:pt x="-18976" y="179285"/>
                  <a:pt x="123742" y="-10441"/>
                  <a:pt x="207164" y="451"/>
                </a:cubicBezTo>
                <a:close/>
              </a:path>
            </a:pathLst>
          </a:custGeom>
          <a:ln>
            <a:solidFill>
              <a:schemeClr val="accent4"/>
            </a:solidFill>
          </a:ln>
        </p:spPr>
        <p:txBody>
          <a:bodyPr wrap="square">
            <a:noAutofit/>
          </a:bodyPr>
          <a:lstStyle>
            <a:lvl1pPr algn="ctr">
              <a:defRPr/>
            </a:lvl1pPr>
          </a:lstStyle>
          <a:p>
            <a:fld id="{294A09A9-5501-47C1-A89A-A340965A2BE2}" type="slidenum">
              <a:rPr lang="en-US" smtClean="0"/>
              <a:pPr/>
              <a:t>‹#›</a:t>
            </a:fld>
            <a:endParaRPr lang="en-US"/>
          </a:p>
        </p:txBody>
      </p:sp>
    </p:spTree>
    <p:extLst>
      <p:ext uri="{BB962C8B-B14F-4D97-AF65-F5344CB8AC3E}">
        <p14:creationId xmlns:p14="http://schemas.microsoft.com/office/powerpoint/2010/main" val="10657585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DFA2E8-50A1-4465-AC33-6FAC0E7736E9}"/>
              </a:ext>
            </a:extLst>
          </p:cNvPr>
          <p:cNvSpPr>
            <a:spLocks noGrp="1"/>
          </p:cNvSpPr>
          <p:nvPr>
            <p:ph type="title"/>
          </p:nvPr>
        </p:nvSpPr>
        <p:spPr>
          <a:xfrm>
            <a:off x="4937760" y="1883664"/>
            <a:ext cx="3922776" cy="1773936"/>
          </a:xfrm>
        </p:spPr>
        <p:txBody>
          <a:bodyPr anchor="b">
            <a:noAutofit/>
          </a:bodyPr>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2E65DE34-CDB7-41F7-A95A-592B99558C69}"/>
              </a:ext>
            </a:extLst>
          </p:cNvPr>
          <p:cNvSpPr>
            <a:spLocks noGrp="1"/>
          </p:cNvSpPr>
          <p:nvPr>
            <p:ph type="body" idx="1"/>
          </p:nvPr>
        </p:nvSpPr>
        <p:spPr>
          <a:xfrm>
            <a:off x="4937760" y="4059936"/>
            <a:ext cx="3922776" cy="1527048"/>
          </a:xfrm>
        </p:spPr>
        <p:txBody>
          <a:bodyPr>
            <a:noAutofit/>
          </a:bodyPr>
          <a:lstStyle>
            <a:lvl1pPr marL="0" indent="0">
              <a:buNone/>
              <a:defRPr sz="135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8" name="Triangle 2">
            <a:extLst>
              <a:ext uri="{FF2B5EF4-FFF2-40B4-BE49-F238E27FC236}">
                <a16:creationId xmlns:a16="http://schemas.microsoft.com/office/drawing/2014/main" id="{A706176C-DE3B-34E7-E308-E5516DCAE9DF}"/>
              </a:ext>
            </a:extLst>
          </p:cNvPr>
          <p:cNvSpPr/>
          <p:nvPr userDrawn="1"/>
        </p:nvSpPr>
        <p:spPr>
          <a:xfrm rot="2731129" flipH="1">
            <a:off x="2236017" y="2069418"/>
            <a:ext cx="2398338" cy="1553239"/>
          </a:xfrm>
          <a:custGeom>
            <a:avLst/>
            <a:gdLst>
              <a:gd name="connsiteX0" fmla="*/ 0 w 4306493"/>
              <a:gd name="connsiteY0" fmla="*/ 3712494 h 3712494"/>
              <a:gd name="connsiteX1" fmla="*/ 2153247 w 4306493"/>
              <a:gd name="connsiteY1" fmla="*/ 0 h 3712494"/>
              <a:gd name="connsiteX2" fmla="*/ 4306493 w 4306493"/>
              <a:gd name="connsiteY2" fmla="*/ 3712494 h 3712494"/>
              <a:gd name="connsiteX3" fmla="*/ 0 w 4306493"/>
              <a:gd name="connsiteY3" fmla="*/ 3712494 h 3712494"/>
              <a:gd name="connsiteX0" fmla="*/ 0 w 4306493"/>
              <a:gd name="connsiteY0" fmla="*/ 3696452 h 3696452"/>
              <a:gd name="connsiteX1" fmla="*/ 2329710 w 4306493"/>
              <a:gd name="connsiteY1" fmla="*/ 0 h 3696452"/>
              <a:gd name="connsiteX2" fmla="*/ 4306493 w 4306493"/>
              <a:gd name="connsiteY2" fmla="*/ 3696452 h 3696452"/>
              <a:gd name="connsiteX3" fmla="*/ 0 w 4306493"/>
              <a:gd name="connsiteY3" fmla="*/ 3696452 h 3696452"/>
              <a:gd name="connsiteX0" fmla="*/ 37309 w 4402235"/>
              <a:gd name="connsiteY0" fmla="*/ 3696452 h 3696452"/>
              <a:gd name="connsiteX1" fmla="*/ 2367019 w 4402235"/>
              <a:gd name="connsiteY1" fmla="*/ 0 h 3696452"/>
              <a:gd name="connsiteX2" fmla="*/ 4343802 w 4402235"/>
              <a:gd name="connsiteY2" fmla="*/ 3696452 h 3696452"/>
              <a:gd name="connsiteX3" fmla="*/ 37309 w 4402235"/>
              <a:gd name="connsiteY3" fmla="*/ 3696452 h 3696452"/>
              <a:gd name="connsiteX0" fmla="*/ 37309 w 4758551"/>
              <a:gd name="connsiteY0" fmla="*/ 3696452 h 3696452"/>
              <a:gd name="connsiteX1" fmla="*/ 2367019 w 4758551"/>
              <a:gd name="connsiteY1" fmla="*/ 0 h 3696452"/>
              <a:gd name="connsiteX2" fmla="*/ 4343802 w 4758551"/>
              <a:gd name="connsiteY2" fmla="*/ 3696452 h 3696452"/>
              <a:gd name="connsiteX3" fmla="*/ 37309 w 4758551"/>
              <a:gd name="connsiteY3" fmla="*/ 3696452 h 3696452"/>
              <a:gd name="connsiteX0" fmla="*/ 379572 w 5100814"/>
              <a:gd name="connsiteY0" fmla="*/ 3696452 h 3696452"/>
              <a:gd name="connsiteX1" fmla="*/ 2709282 w 5100814"/>
              <a:gd name="connsiteY1" fmla="*/ 0 h 3696452"/>
              <a:gd name="connsiteX2" fmla="*/ 4686065 w 5100814"/>
              <a:gd name="connsiteY2" fmla="*/ 3696452 h 3696452"/>
              <a:gd name="connsiteX3" fmla="*/ 379572 w 5100814"/>
              <a:gd name="connsiteY3" fmla="*/ 3696452 h 3696452"/>
              <a:gd name="connsiteX0" fmla="*/ 527795 w 5425824"/>
              <a:gd name="connsiteY0" fmla="*/ 3696657 h 3696657"/>
              <a:gd name="connsiteX1" fmla="*/ 2857505 w 5425824"/>
              <a:gd name="connsiteY1" fmla="*/ 205 h 3696657"/>
              <a:gd name="connsiteX2" fmla="*/ 4834288 w 5425824"/>
              <a:gd name="connsiteY2" fmla="*/ 3696657 h 3696657"/>
              <a:gd name="connsiteX3" fmla="*/ 527795 w 5425824"/>
              <a:gd name="connsiteY3" fmla="*/ 3696657 h 3696657"/>
              <a:gd name="connsiteX0" fmla="*/ 507350 w 5405379"/>
              <a:gd name="connsiteY0" fmla="*/ 3696679 h 3853535"/>
              <a:gd name="connsiteX1" fmla="*/ 2837060 w 5405379"/>
              <a:gd name="connsiteY1" fmla="*/ 227 h 3853535"/>
              <a:gd name="connsiteX2" fmla="*/ 4813843 w 5405379"/>
              <a:gd name="connsiteY2" fmla="*/ 3696679 h 3853535"/>
              <a:gd name="connsiteX3" fmla="*/ 507350 w 5405379"/>
              <a:gd name="connsiteY3" fmla="*/ 3696679 h 3853535"/>
              <a:gd name="connsiteX0" fmla="*/ 321130 w 5326541"/>
              <a:gd name="connsiteY0" fmla="*/ 2552473 h 3795422"/>
              <a:gd name="connsiteX1" fmla="*/ 3260440 w 5326541"/>
              <a:gd name="connsiteY1" fmla="*/ 11053 h 3795422"/>
              <a:gd name="connsiteX2" fmla="*/ 5237223 w 5326541"/>
              <a:gd name="connsiteY2" fmla="*/ 3707505 h 3795422"/>
              <a:gd name="connsiteX3" fmla="*/ 321130 w 5326541"/>
              <a:gd name="connsiteY3" fmla="*/ 2552473 h 3795422"/>
              <a:gd name="connsiteX0" fmla="*/ 131275 w 5136686"/>
              <a:gd name="connsiteY0" fmla="*/ 2556035 h 3848881"/>
              <a:gd name="connsiteX1" fmla="*/ 3070585 w 5136686"/>
              <a:gd name="connsiteY1" fmla="*/ 14615 h 3848881"/>
              <a:gd name="connsiteX2" fmla="*/ 5047368 w 5136686"/>
              <a:gd name="connsiteY2" fmla="*/ 3711067 h 3848881"/>
              <a:gd name="connsiteX3" fmla="*/ 131275 w 5136686"/>
              <a:gd name="connsiteY3" fmla="*/ 2556035 h 3848881"/>
              <a:gd name="connsiteX0" fmla="*/ 139833 w 5155503"/>
              <a:gd name="connsiteY0" fmla="*/ 2577742 h 3870588"/>
              <a:gd name="connsiteX1" fmla="*/ 3079143 w 5155503"/>
              <a:gd name="connsiteY1" fmla="*/ 36322 h 3870588"/>
              <a:gd name="connsiteX2" fmla="*/ 5055926 w 5155503"/>
              <a:gd name="connsiteY2" fmla="*/ 3732774 h 3870588"/>
              <a:gd name="connsiteX3" fmla="*/ 139833 w 5155503"/>
              <a:gd name="connsiteY3" fmla="*/ 2577742 h 3870588"/>
              <a:gd name="connsiteX0" fmla="*/ 26029 w 5061836"/>
              <a:gd name="connsiteY0" fmla="*/ 2477397 h 3730043"/>
              <a:gd name="connsiteX1" fmla="*/ 3141802 w 5061836"/>
              <a:gd name="connsiteY1" fmla="*/ 32230 h 3730043"/>
              <a:gd name="connsiteX2" fmla="*/ 4942122 w 5061836"/>
              <a:gd name="connsiteY2" fmla="*/ 3632429 h 3730043"/>
              <a:gd name="connsiteX3" fmla="*/ 26029 w 5061836"/>
              <a:gd name="connsiteY3" fmla="*/ 2477397 h 3730043"/>
              <a:gd name="connsiteX0" fmla="*/ 116397 w 5152204"/>
              <a:gd name="connsiteY0" fmla="*/ 2487445 h 3802029"/>
              <a:gd name="connsiteX1" fmla="*/ 3232170 w 5152204"/>
              <a:gd name="connsiteY1" fmla="*/ 42278 h 3802029"/>
              <a:gd name="connsiteX2" fmla="*/ 5032490 w 5152204"/>
              <a:gd name="connsiteY2" fmla="*/ 3642477 h 3802029"/>
              <a:gd name="connsiteX3" fmla="*/ 116397 w 5152204"/>
              <a:gd name="connsiteY3" fmla="*/ 2487445 h 3802029"/>
              <a:gd name="connsiteX0" fmla="*/ 116397 w 5311374"/>
              <a:gd name="connsiteY0" fmla="*/ 2487445 h 3961862"/>
              <a:gd name="connsiteX1" fmla="*/ 3232170 w 5311374"/>
              <a:gd name="connsiteY1" fmla="*/ 42278 h 3961862"/>
              <a:gd name="connsiteX2" fmla="*/ 5032490 w 5311374"/>
              <a:gd name="connsiteY2" fmla="*/ 3642477 h 3961862"/>
              <a:gd name="connsiteX3" fmla="*/ 116397 w 5311374"/>
              <a:gd name="connsiteY3" fmla="*/ 2487445 h 3961862"/>
              <a:gd name="connsiteX0" fmla="*/ 24802 w 5064988"/>
              <a:gd name="connsiteY0" fmla="*/ 3102785 h 4402324"/>
              <a:gd name="connsiteX1" fmla="*/ 3175317 w 5064988"/>
              <a:gd name="connsiteY1" fmla="*/ 26435 h 4402324"/>
              <a:gd name="connsiteX2" fmla="*/ 4940895 w 5064988"/>
              <a:gd name="connsiteY2" fmla="*/ 4257817 h 4402324"/>
              <a:gd name="connsiteX3" fmla="*/ 24802 w 5064988"/>
              <a:gd name="connsiteY3" fmla="*/ 3102785 h 4402324"/>
              <a:gd name="connsiteX0" fmla="*/ 176394 w 5216580"/>
              <a:gd name="connsiteY0" fmla="*/ 3115981 h 4583471"/>
              <a:gd name="connsiteX1" fmla="*/ 3326909 w 5216580"/>
              <a:gd name="connsiteY1" fmla="*/ 39631 h 4583471"/>
              <a:gd name="connsiteX2" fmla="*/ 5092487 w 5216580"/>
              <a:gd name="connsiteY2" fmla="*/ 4271013 h 4583471"/>
              <a:gd name="connsiteX3" fmla="*/ 176394 w 5216580"/>
              <a:gd name="connsiteY3" fmla="*/ 3115981 h 4583471"/>
              <a:gd name="connsiteX0" fmla="*/ 15210 w 4678213"/>
              <a:gd name="connsiteY0" fmla="*/ 3101798 h 3799725"/>
              <a:gd name="connsiteX1" fmla="*/ 3165725 w 4678213"/>
              <a:gd name="connsiteY1" fmla="*/ 25448 h 3799725"/>
              <a:gd name="connsiteX2" fmla="*/ 4516292 w 4678213"/>
              <a:gd name="connsiteY2" fmla="*/ 3559583 h 3799725"/>
              <a:gd name="connsiteX3" fmla="*/ 15210 w 4678213"/>
              <a:gd name="connsiteY3" fmla="*/ 3101798 h 3799725"/>
              <a:gd name="connsiteX0" fmla="*/ 15210 w 5235277"/>
              <a:gd name="connsiteY0" fmla="*/ 3101798 h 4322047"/>
              <a:gd name="connsiteX1" fmla="*/ 3165725 w 5235277"/>
              <a:gd name="connsiteY1" fmla="*/ 25448 h 4322047"/>
              <a:gd name="connsiteX2" fmla="*/ 4516292 w 5235277"/>
              <a:gd name="connsiteY2" fmla="*/ 3559583 h 4322047"/>
              <a:gd name="connsiteX3" fmla="*/ 15210 w 5235277"/>
              <a:gd name="connsiteY3" fmla="*/ 3101798 h 4322047"/>
              <a:gd name="connsiteX0" fmla="*/ 26802 w 5246869"/>
              <a:gd name="connsiteY0" fmla="*/ 3104602 h 4397353"/>
              <a:gd name="connsiteX1" fmla="*/ 3177317 w 5246869"/>
              <a:gd name="connsiteY1" fmla="*/ 28252 h 4397353"/>
              <a:gd name="connsiteX2" fmla="*/ 4527884 w 5246869"/>
              <a:gd name="connsiteY2" fmla="*/ 3562387 h 4397353"/>
              <a:gd name="connsiteX3" fmla="*/ 26802 w 5246869"/>
              <a:gd name="connsiteY3" fmla="*/ 3104602 h 4397353"/>
              <a:gd name="connsiteX0" fmla="*/ 46594 w 5266661"/>
              <a:gd name="connsiteY0" fmla="*/ 3111058 h 4547804"/>
              <a:gd name="connsiteX1" fmla="*/ 3197109 w 5266661"/>
              <a:gd name="connsiteY1" fmla="*/ 34708 h 4547804"/>
              <a:gd name="connsiteX2" fmla="*/ 4547676 w 5266661"/>
              <a:gd name="connsiteY2" fmla="*/ 3568843 h 4547804"/>
              <a:gd name="connsiteX3" fmla="*/ 46594 w 5266661"/>
              <a:gd name="connsiteY3" fmla="*/ 3111058 h 4547804"/>
            </a:gdLst>
            <a:ahLst/>
            <a:cxnLst>
              <a:cxn ang="0">
                <a:pos x="connsiteX0" y="connsiteY0"/>
              </a:cxn>
              <a:cxn ang="0">
                <a:pos x="connsiteX1" y="connsiteY1"/>
              </a:cxn>
              <a:cxn ang="0">
                <a:pos x="connsiteX2" y="connsiteY2"/>
              </a:cxn>
              <a:cxn ang="0">
                <a:pos x="connsiteX3" y="connsiteY3"/>
              </a:cxn>
            </a:cxnLst>
            <a:rect l="l" t="t" r="r" b="b"/>
            <a:pathLst>
              <a:path w="5266661" h="4547804">
                <a:moveTo>
                  <a:pt x="46594" y="3111058"/>
                </a:moveTo>
                <a:cubicBezTo>
                  <a:pt x="-373125" y="1686135"/>
                  <a:pt x="2153170" y="-286134"/>
                  <a:pt x="3197109" y="34708"/>
                </a:cubicBezTo>
                <a:cubicBezTo>
                  <a:pt x="4241048" y="355550"/>
                  <a:pt x="6386084" y="1880811"/>
                  <a:pt x="4547676" y="3568843"/>
                </a:cubicBezTo>
                <a:cubicBezTo>
                  <a:pt x="2709268" y="5256875"/>
                  <a:pt x="466313" y="4535981"/>
                  <a:pt x="46594" y="3111058"/>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Triangle 2">
            <a:extLst>
              <a:ext uri="{FF2B5EF4-FFF2-40B4-BE49-F238E27FC236}">
                <a16:creationId xmlns:a16="http://schemas.microsoft.com/office/drawing/2014/main" id="{4191ACCE-E2FF-ADC5-FEB0-FA8A3F9626AE}"/>
              </a:ext>
            </a:extLst>
          </p:cNvPr>
          <p:cNvSpPr/>
          <p:nvPr userDrawn="1"/>
        </p:nvSpPr>
        <p:spPr>
          <a:xfrm rot="7237460" flipH="1">
            <a:off x="860062" y="3447050"/>
            <a:ext cx="3992494" cy="1960228"/>
          </a:xfrm>
          <a:custGeom>
            <a:avLst/>
            <a:gdLst>
              <a:gd name="connsiteX0" fmla="*/ 0 w 4306493"/>
              <a:gd name="connsiteY0" fmla="*/ 3712494 h 3712494"/>
              <a:gd name="connsiteX1" fmla="*/ 2153247 w 4306493"/>
              <a:gd name="connsiteY1" fmla="*/ 0 h 3712494"/>
              <a:gd name="connsiteX2" fmla="*/ 4306493 w 4306493"/>
              <a:gd name="connsiteY2" fmla="*/ 3712494 h 3712494"/>
              <a:gd name="connsiteX3" fmla="*/ 0 w 4306493"/>
              <a:gd name="connsiteY3" fmla="*/ 3712494 h 3712494"/>
              <a:gd name="connsiteX0" fmla="*/ 0 w 4306493"/>
              <a:gd name="connsiteY0" fmla="*/ 3696452 h 3696452"/>
              <a:gd name="connsiteX1" fmla="*/ 2329710 w 4306493"/>
              <a:gd name="connsiteY1" fmla="*/ 0 h 3696452"/>
              <a:gd name="connsiteX2" fmla="*/ 4306493 w 4306493"/>
              <a:gd name="connsiteY2" fmla="*/ 3696452 h 3696452"/>
              <a:gd name="connsiteX3" fmla="*/ 0 w 4306493"/>
              <a:gd name="connsiteY3" fmla="*/ 3696452 h 3696452"/>
              <a:gd name="connsiteX0" fmla="*/ 37309 w 4402235"/>
              <a:gd name="connsiteY0" fmla="*/ 3696452 h 3696452"/>
              <a:gd name="connsiteX1" fmla="*/ 2367019 w 4402235"/>
              <a:gd name="connsiteY1" fmla="*/ 0 h 3696452"/>
              <a:gd name="connsiteX2" fmla="*/ 4343802 w 4402235"/>
              <a:gd name="connsiteY2" fmla="*/ 3696452 h 3696452"/>
              <a:gd name="connsiteX3" fmla="*/ 37309 w 4402235"/>
              <a:gd name="connsiteY3" fmla="*/ 3696452 h 3696452"/>
              <a:gd name="connsiteX0" fmla="*/ 37309 w 4758551"/>
              <a:gd name="connsiteY0" fmla="*/ 3696452 h 3696452"/>
              <a:gd name="connsiteX1" fmla="*/ 2367019 w 4758551"/>
              <a:gd name="connsiteY1" fmla="*/ 0 h 3696452"/>
              <a:gd name="connsiteX2" fmla="*/ 4343802 w 4758551"/>
              <a:gd name="connsiteY2" fmla="*/ 3696452 h 3696452"/>
              <a:gd name="connsiteX3" fmla="*/ 37309 w 4758551"/>
              <a:gd name="connsiteY3" fmla="*/ 3696452 h 3696452"/>
              <a:gd name="connsiteX0" fmla="*/ 379572 w 5100814"/>
              <a:gd name="connsiteY0" fmla="*/ 3696452 h 3696452"/>
              <a:gd name="connsiteX1" fmla="*/ 2709282 w 5100814"/>
              <a:gd name="connsiteY1" fmla="*/ 0 h 3696452"/>
              <a:gd name="connsiteX2" fmla="*/ 4686065 w 5100814"/>
              <a:gd name="connsiteY2" fmla="*/ 3696452 h 3696452"/>
              <a:gd name="connsiteX3" fmla="*/ 379572 w 5100814"/>
              <a:gd name="connsiteY3" fmla="*/ 3696452 h 3696452"/>
              <a:gd name="connsiteX0" fmla="*/ 527795 w 5425824"/>
              <a:gd name="connsiteY0" fmla="*/ 3696657 h 3696657"/>
              <a:gd name="connsiteX1" fmla="*/ 2857505 w 5425824"/>
              <a:gd name="connsiteY1" fmla="*/ 205 h 3696657"/>
              <a:gd name="connsiteX2" fmla="*/ 4834288 w 5425824"/>
              <a:gd name="connsiteY2" fmla="*/ 3696657 h 3696657"/>
              <a:gd name="connsiteX3" fmla="*/ 527795 w 5425824"/>
              <a:gd name="connsiteY3" fmla="*/ 3696657 h 3696657"/>
              <a:gd name="connsiteX0" fmla="*/ 507350 w 5405379"/>
              <a:gd name="connsiteY0" fmla="*/ 3696679 h 3853535"/>
              <a:gd name="connsiteX1" fmla="*/ 2837060 w 5405379"/>
              <a:gd name="connsiteY1" fmla="*/ 227 h 3853535"/>
              <a:gd name="connsiteX2" fmla="*/ 4813843 w 5405379"/>
              <a:gd name="connsiteY2" fmla="*/ 3696679 h 3853535"/>
              <a:gd name="connsiteX3" fmla="*/ 507350 w 5405379"/>
              <a:gd name="connsiteY3" fmla="*/ 3696679 h 3853535"/>
              <a:gd name="connsiteX0" fmla="*/ 321130 w 5326541"/>
              <a:gd name="connsiteY0" fmla="*/ 2552473 h 3795422"/>
              <a:gd name="connsiteX1" fmla="*/ 3260440 w 5326541"/>
              <a:gd name="connsiteY1" fmla="*/ 11053 h 3795422"/>
              <a:gd name="connsiteX2" fmla="*/ 5237223 w 5326541"/>
              <a:gd name="connsiteY2" fmla="*/ 3707505 h 3795422"/>
              <a:gd name="connsiteX3" fmla="*/ 321130 w 5326541"/>
              <a:gd name="connsiteY3" fmla="*/ 2552473 h 3795422"/>
              <a:gd name="connsiteX0" fmla="*/ 131275 w 5136686"/>
              <a:gd name="connsiteY0" fmla="*/ 2556035 h 3848881"/>
              <a:gd name="connsiteX1" fmla="*/ 3070585 w 5136686"/>
              <a:gd name="connsiteY1" fmla="*/ 14615 h 3848881"/>
              <a:gd name="connsiteX2" fmla="*/ 5047368 w 5136686"/>
              <a:gd name="connsiteY2" fmla="*/ 3711067 h 3848881"/>
              <a:gd name="connsiteX3" fmla="*/ 131275 w 5136686"/>
              <a:gd name="connsiteY3" fmla="*/ 2556035 h 3848881"/>
              <a:gd name="connsiteX0" fmla="*/ 139833 w 5155503"/>
              <a:gd name="connsiteY0" fmla="*/ 2577742 h 3870588"/>
              <a:gd name="connsiteX1" fmla="*/ 3079143 w 5155503"/>
              <a:gd name="connsiteY1" fmla="*/ 36322 h 3870588"/>
              <a:gd name="connsiteX2" fmla="*/ 5055926 w 5155503"/>
              <a:gd name="connsiteY2" fmla="*/ 3732774 h 3870588"/>
              <a:gd name="connsiteX3" fmla="*/ 139833 w 5155503"/>
              <a:gd name="connsiteY3" fmla="*/ 2577742 h 3870588"/>
              <a:gd name="connsiteX0" fmla="*/ 26029 w 5061836"/>
              <a:gd name="connsiteY0" fmla="*/ 2477397 h 3730043"/>
              <a:gd name="connsiteX1" fmla="*/ 3141802 w 5061836"/>
              <a:gd name="connsiteY1" fmla="*/ 32230 h 3730043"/>
              <a:gd name="connsiteX2" fmla="*/ 4942122 w 5061836"/>
              <a:gd name="connsiteY2" fmla="*/ 3632429 h 3730043"/>
              <a:gd name="connsiteX3" fmla="*/ 26029 w 5061836"/>
              <a:gd name="connsiteY3" fmla="*/ 2477397 h 3730043"/>
              <a:gd name="connsiteX0" fmla="*/ 116397 w 5152204"/>
              <a:gd name="connsiteY0" fmla="*/ 2487445 h 3802029"/>
              <a:gd name="connsiteX1" fmla="*/ 3232170 w 5152204"/>
              <a:gd name="connsiteY1" fmla="*/ 42278 h 3802029"/>
              <a:gd name="connsiteX2" fmla="*/ 5032490 w 5152204"/>
              <a:gd name="connsiteY2" fmla="*/ 3642477 h 3802029"/>
              <a:gd name="connsiteX3" fmla="*/ 116397 w 5152204"/>
              <a:gd name="connsiteY3" fmla="*/ 2487445 h 3802029"/>
              <a:gd name="connsiteX0" fmla="*/ 116397 w 5311374"/>
              <a:gd name="connsiteY0" fmla="*/ 2487445 h 3961862"/>
              <a:gd name="connsiteX1" fmla="*/ 3232170 w 5311374"/>
              <a:gd name="connsiteY1" fmla="*/ 42278 h 3961862"/>
              <a:gd name="connsiteX2" fmla="*/ 5032490 w 5311374"/>
              <a:gd name="connsiteY2" fmla="*/ 3642477 h 3961862"/>
              <a:gd name="connsiteX3" fmla="*/ 116397 w 5311374"/>
              <a:gd name="connsiteY3" fmla="*/ 2487445 h 3961862"/>
              <a:gd name="connsiteX0" fmla="*/ 116397 w 5759583"/>
              <a:gd name="connsiteY0" fmla="*/ 2487445 h 3799980"/>
              <a:gd name="connsiteX1" fmla="*/ 3232170 w 5759583"/>
              <a:gd name="connsiteY1" fmla="*/ 42278 h 3799980"/>
              <a:gd name="connsiteX2" fmla="*/ 5032490 w 5759583"/>
              <a:gd name="connsiteY2" fmla="*/ 3642477 h 3799980"/>
              <a:gd name="connsiteX3" fmla="*/ 116397 w 5759583"/>
              <a:gd name="connsiteY3" fmla="*/ 2487445 h 3799980"/>
              <a:gd name="connsiteX0" fmla="*/ 116397 w 6115206"/>
              <a:gd name="connsiteY0" fmla="*/ 2487445 h 3807611"/>
              <a:gd name="connsiteX1" fmla="*/ 3232170 w 6115206"/>
              <a:gd name="connsiteY1" fmla="*/ 42278 h 3807611"/>
              <a:gd name="connsiteX2" fmla="*/ 5032490 w 6115206"/>
              <a:gd name="connsiteY2" fmla="*/ 3642477 h 3807611"/>
              <a:gd name="connsiteX3" fmla="*/ 116397 w 6115206"/>
              <a:gd name="connsiteY3" fmla="*/ 2487445 h 3807611"/>
              <a:gd name="connsiteX0" fmla="*/ 116397 w 6206862"/>
              <a:gd name="connsiteY0" fmla="*/ 2487445 h 3799576"/>
              <a:gd name="connsiteX1" fmla="*/ 3232170 w 6206862"/>
              <a:gd name="connsiteY1" fmla="*/ 42278 h 3799576"/>
              <a:gd name="connsiteX2" fmla="*/ 5032490 w 6206862"/>
              <a:gd name="connsiteY2" fmla="*/ 3642477 h 3799576"/>
              <a:gd name="connsiteX3" fmla="*/ 116397 w 6206862"/>
              <a:gd name="connsiteY3" fmla="*/ 2487445 h 3799576"/>
              <a:gd name="connsiteX0" fmla="*/ 124476 w 6214941"/>
              <a:gd name="connsiteY0" fmla="*/ 2454008 h 3766139"/>
              <a:gd name="connsiteX1" fmla="*/ 3240249 w 6214941"/>
              <a:gd name="connsiteY1" fmla="*/ 8841 h 3766139"/>
              <a:gd name="connsiteX2" fmla="*/ 5040569 w 6214941"/>
              <a:gd name="connsiteY2" fmla="*/ 3609040 h 3766139"/>
              <a:gd name="connsiteX3" fmla="*/ 124476 w 6214941"/>
              <a:gd name="connsiteY3" fmla="*/ 2454008 h 3766139"/>
              <a:gd name="connsiteX0" fmla="*/ 124476 w 6397505"/>
              <a:gd name="connsiteY0" fmla="*/ 2454008 h 3930790"/>
              <a:gd name="connsiteX1" fmla="*/ 3240249 w 6397505"/>
              <a:gd name="connsiteY1" fmla="*/ 8841 h 3930790"/>
              <a:gd name="connsiteX2" fmla="*/ 5040569 w 6397505"/>
              <a:gd name="connsiteY2" fmla="*/ 3609040 h 3930790"/>
              <a:gd name="connsiteX3" fmla="*/ 124476 w 6397505"/>
              <a:gd name="connsiteY3" fmla="*/ 2454008 h 3930790"/>
              <a:gd name="connsiteX0" fmla="*/ 159282 w 6432311"/>
              <a:gd name="connsiteY0" fmla="*/ 2456586 h 3933368"/>
              <a:gd name="connsiteX1" fmla="*/ 3275055 w 6432311"/>
              <a:gd name="connsiteY1" fmla="*/ 11419 h 3933368"/>
              <a:gd name="connsiteX2" fmla="*/ 5075375 w 6432311"/>
              <a:gd name="connsiteY2" fmla="*/ 3611618 h 3933368"/>
              <a:gd name="connsiteX3" fmla="*/ 159282 w 6432311"/>
              <a:gd name="connsiteY3" fmla="*/ 2456586 h 3933368"/>
              <a:gd name="connsiteX0" fmla="*/ 159282 w 6599093"/>
              <a:gd name="connsiteY0" fmla="*/ 2456586 h 3932011"/>
              <a:gd name="connsiteX1" fmla="*/ 3275055 w 6599093"/>
              <a:gd name="connsiteY1" fmla="*/ 11419 h 3932011"/>
              <a:gd name="connsiteX2" fmla="*/ 5075375 w 6599093"/>
              <a:gd name="connsiteY2" fmla="*/ 3611618 h 3932011"/>
              <a:gd name="connsiteX3" fmla="*/ 159282 w 6599093"/>
              <a:gd name="connsiteY3" fmla="*/ 2456586 h 3932011"/>
              <a:gd name="connsiteX0" fmla="*/ 26590 w 6423987"/>
              <a:gd name="connsiteY0" fmla="*/ 2451701 h 4246435"/>
              <a:gd name="connsiteX1" fmla="*/ 3142363 w 6423987"/>
              <a:gd name="connsiteY1" fmla="*/ 6534 h 4246435"/>
              <a:gd name="connsiteX2" fmla="*/ 4875447 w 6423987"/>
              <a:gd name="connsiteY2" fmla="*/ 3942910 h 4246435"/>
              <a:gd name="connsiteX3" fmla="*/ 26590 w 6423987"/>
              <a:gd name="connsiteY3" fmla="*/ 2451701 h 4246435"/>
              <a:gd name="connsiteX0" fmla="*/ 96204 w 6493601"/>
              <a:gd name="connsiteY0" fmla="*/ 2456221 h 4250955"/>
              <a:gd name="connsiteX1" fmla="*/ 3211977 w 6493601"/>
              <a:gd name="connsiteY1" fmla="*/ 11054 h 4250955"/>
              <a:gd name="connsiteX2" fmla="*/ 4945061 w 6493601"/>
              <a:gd name="connsiteY2" fmla="*/ 3947430 h 4250955"/>
              <a:gd name="connsiteX3" fmla="*/ 96204 w 6493601"/>
              <a:gd name="connsiteY3" fmla="*/ 2456221 h 4250955"/>
            </a:gdLst>
            <a:ahLst/>
            <a:cxnLst>
              <a:cxn ang="0">
                <a:pos x="connsiteX0" y="connsiteY0"/>
              </a:cxn>
              <a:cxn ang="0">
                <a:pos x="connsiteX1" y="connsiteY1"/>
              </a:cxn>
              <a:cxn ang="0">
                <a:pos x="connsiteX2" y="connsiteY2"/>
              </a:cxn>
              <a:cxn ang="0">
                <a:pos x="connsiteX3" y="connsiteY3"/>
              </a:cxn>
            </a:cxnLst>
            <a:rect l="l" t="t" r="r" b="b"/>
            <a:pathLst>
              <a:path w="6493601" h="4250955">
                <a:moveTo>
                  <a:pt x="96204" y="2456221"/>
                </a:moveTo>
                <a:cubicBezTo>
                  <a:pt x="-515372" y="952994"/>
                  <a:pt x="1939438" y="-121529"/>
                  <a:pt x="3211977" y="11054"/>
                </a:cubicBezTo>
                <a:cubicBezTo>
                  <a:pt x="7012563" y="291555"/>
                  <a:pt x="7403564" y="5551062"/>
                  <a:pt x="4945061" y="3947430"/>
                </a:cubicBezTo>
                <a:cubicBezTo>
                  <a:pt x="2486558" y="2343798"/>
                  <a:pt x="707780" y="3959448"/>
                  <a:pt x="96204" y="2456221"/>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9" name="Triangle 2">
            <a:extLst>
              <a:ext uri="{FF2B5EF4-FFF2-40B4-BE49-F238E27FC236}">
                <a16:creationId xmlns:a16="http://schemas.microsoft.com/office/drawing/2014/main" id="{22C8BC4C-7DCA-1B85-484B-247D5B590328}"/>
              </a:ext>
            </a:extLst>
          </p:cNvPr>
          <p:cNvSpPr/>
          <p:nvPr userDrawn="1"/>
        </p:nvSpPr>
        <p:spPr>
          <a:xfrm rot="2201564" flipH="1">
            <a:off x="1769062" y="362550"/>
            <a:ext cx="2522562" cy="2201818"/>
          </a:xfrm>
          <a:custGeom>
            <a:avLst/>
            <a:gdLst>
              <a:gd name="connsiteX0" fmla="*/ 0 w 4306493"/>
              <a:gd name="connsiteY0" fmla="*/ 3712494 h 3712494"/>
              <a:gd name="connsiteX1" fmla="*/ 2153247 w 4306493"/>
              <a:gd name="connsiteY1" fmla="*/ 0 h 3712494"/>
              <a:gd name="connsiteX2" fmla="*/ 4306493 w 4306493"/>
              <a:gd name="connsiteY2" fmla="*/ 3712494 h 3712494"/>
              <a:gd name="connsiteX3" fmla="*/ 0 w 4306493"/>
              <a:gd name="connsiteY3" fmla="*/ 3712494 h 3712494"/>
              <a:gd name="connsiteX0" fmla="*/ 0 w 4306493"/>
              <a:gd name="connsiteY0" fmla="*/ 3696452 h 3696452"/>
              <a:gd name="connsiteX1" fmla="*/ 2329710 w 4306493"/>
              <a:gd name="connsiteY1" fmla="*/ 0 h 3696452"/>
              <a:gd name="connsiteX2" fmla="*/ 4306493 w 4306493"/>
              <a:gd name="connsiteY2" fmla="*/ 3696452 h 3696452"/>
              <a:gd name="connsiteX3" fmla="*/ 0 w 4306493"/>
              <a:gd name="connsiteY3" fmla="*/ 3696452 h 3696452"/>
              <a:gd name="connsiteX0" fmla="*/ 37309 w 4402235"/>
              <a:gd name="connsiteY0" fmla="*/ 3696452 h 3696452"/>
              <a:gd name="connsiteX1" fmla="*/ 2367019 w 4402235"/>
              <a:gd name="connsiteY1" fmla="*/ 0 h 3696452"/>
              <a:gd name="connsiteX2" fmla="*/ 4343802 w 4402235"/>
              <a:gd name="connsiteY2" fmla="*/ 3696452 h 3696452"/>
              <a:gd name="connsiteX3" fmla="*/ 37309 w 4402235"/>
              <a:gd name="connsiteY3" fmla="*/ 3696452 h 3696452"/>
              <a:gd name="connsiteX0" fmla="*/ 37309 w 4758551"/>
              <a:gd name="connsiteY0" fmla="*/ 3696452 h 3696452"/>
              <a:gd name="connsiteX1" fmla="*/ 2367019 w 4758551"/>
              <a:gd name="connsiteY1" fmla="*/ 0 h 3696452"/>
              <a:gd name="connsiteX2" fmla="*/ 4343802 w 4758551"/>
              <a:gd name="connsiteY2" fmla="*/ 3696452 h 3696452"/>
              <a:gd name="connsiteX3" fmla="*/ 37309 w 4758551"/>
              <a:gd name="connsiteY3" fmla="*/ 3696452 h 3696452"/>
              <a:gd name="connsiteX0" fmla="*/ 379572 w 5100814"/>
              <a:gd name="connsiteY0" fmla="*/ 3696452 h 3696452"/>
              <a:gd name="connsiteX1" fmla="*/ 2709282 w 5100814"/>
              <a:gd name="connsiteY1" fmla="*/ 0 h 3696452"/>
              <a:gd name="connsiteX2" fmla="*/ 4686065 w 5100814"/>
              <a:gd name="connsiteY2" fmla="*/ 3696452 h 3696452"/>
              <a:gd name="connsiteX3" fmla="*/ 379572 w 5100814"/>
              <a:gd name="connsiteY3" fmla="*/ 3696452 h 3696452"/>
              <a:gd name="connsiteX0" fmla="*/ 527795 w 5425824"/>
              <a:gd name="connsiteY0" fmla="*/ 3696657 h 3696657"/>
              <a:gd name="connsiteX1" fmla="*/ 2857505 w 5425824"/>
              <a:gd name="connsiteY1" fmla="*/ 205 h 3696657"/>
              <a:gd name="connsiteX2" fmla="*/ 4834288 w 5425824"/>
              <a:gd name="connsiteY2" fmla="*/ 3696657 h 3696657"/>
              <a:gd name="connsiteX3" fmla="*/ 527795 w 5425824"/>
              <a:gd name="connsiteY3" fmla="*/ 3696657 h 3696657"/>
              <a:gd name="connsiteX0" fmla="*/ 507350 w 5405379"/>
              <a:gd name="connsiteY0" fmla="*/ 3696679 h 3853535"/>
              <a:gd name="connsiteX1" fmla="*/ 2837060 w 5405379"/>
              <a:gd name="connsiteY1" fmla="*/ 227 h 3853535"/>
              <a:gd name="connsiteX2" fmla="*/ 4813843 w 5405379"/>
              <a:gd name="connsiteY2" fmla="*/ 3696679 h 3853535"/>
              <a:gd name="connsiteX3" fmla="*/ 507350 w 5405379"/>
              <a:gd name="connsiteY3" fmla="*/ 3696679 h 3853535"/>
              <a:gd name="connsiteX0" fmla="*/ 321130 w 5326541"/>
              <a:gd name="connsiteY0" fmla="*/ 2552473 h 3795422"/>
              <a:gd name="connsiteX1" fmla="*/ 3260440 w 5326541"/>
              <a:gd name="connsiteY1" fmla="*/ 11053 h 3795422"/>
              <a:gd name="connsiteX2" fmla="*/ 5237223 w 5326541"/>
              <a:gd name="connsiteY2" fmla="*/ 3707505 h 3795422"/>
              <a:gd name="connsiteX3" fmla="*/ 321130 w 5326541"/>
              <a:gd name="connsiteY3" fmla="*/ 2552473 h 3795422"/>
              <a:gd name="connsiteX0" fmla="*/ 131275 w 5136686"/>
              <a:gd name="connsiteY0" fmla="*/ 2556035 h 3848881"/>
              <a:gd name="connsiteX1" fmla="*/ 3070585 w 5136686"/>
              <a:gd name="connsiteY1" fmla="*/ 14615 h 3848881"/>
              <a:gd name="connsiteX2" fmla="*/ 5047368 w 5136686"/>
              <a:gd name="connsiteY2" fmla="*/ 3711067 h 3848881"/>
              <a:gd name="connsiteX3" fmla="*/ 131275 w 5136686"/>
              <a:gd name="connsiteY3" fmla="*/ 2556035 h 3848881"/>
              <a:gd name="connsiteX0" fmla="*/ 139833 w 5155503"/>
              <a:gd name="connsiteY0" fmla="*/ 2577742 h 3870588"/>
              <a:gd name="connsiteX1" fmla="*/ 3079143 w 5155503"/>
              <a:gd name="connsiteY1" fmla="*/ 36322 h 3870588"/>
              <a:gd name="connsiteX2" fmla="*/ 5055926 w 5155503"/>
              <a:gd name="connsiteY2" fmla="*/ 3732774 h 3870588"/>
              <a:gd name="connsiteX3" fmla="*/ 139833 w 5155503"/>
              <a:gd name="connsiteY3" fmla="*/ 2577742 h 3870588"/>
              <a:gd name="connsiteX0" fmla="*/ 26029 w 5061836"/>
              <a:gd name="connsiteY0" fmla="*/ 2477397 h 3730043"/>
              <a:gd name="connsiteX1" fmla="*/ 3141802 w 5061836"/>
              <a:gd name="connsiteY1" fmla="*/ 32230 h 3730043"/>
              <a:gd name="connsiteX2" fmla="*/ 4942122 w 5061836"/>
              <a:gd name="connsiteY2" fmla="*/ 3632429 h 3730043"/>
              <a:gd name="connsiteX3" fmla="*/ 26029 w 5061836"/>
              <a:gd name="connsiteY3" fmla="*/ 2477397 h 3730043"/>
              <a:gd name="connsiteX0" fmla="*/ 116397 w 5152204"/>
              <a:gd name="connsiteY0" fmla="*/ 2487445 h 3802029"/>
              <a:gd name="connsiteX1" fmla="*/ 3232170 w 5152204"/>
              <a:gd name="connsiteY1" fmla="*/ 42278 h 3802029"/>
              <a:gd name="connsiteX2" fmla="*/ 5032490 w 5152204"/>
              <a:gd name="connsiteY2" fmla="*/ 3642477 h 3802029"/>
              <a:gd name="connsiteX3" fmla="*/ 116397 w 5152204"/>
              <a:gd name="connsiteY3" fmla="*/ 2487445 h 3802029"/>
              <a:gd name="connsiteX0" fmla="*/ 116397 w 5311374"/>
              <a:gd name="connsiteY0" fmla="*/ 2487445 h 3961862"/>
              <a:gd name="connsiteX1" fmla="*/ 3232170 w 5311374"/>
              <a:gd name="connsiteY1" fmla="*/ 42278 h 3961862"/>
              <a:gd name="connsiteX2" fmla="*/ 5032490 w 5311374"/>
              <a:gd name="connsiteY2" fmla="*/ 3642477 h 3961862"/>
              <a:gd name="connsiteX3" fmla="*/ 116397 w 5311374"/>
              <a:gd name="connsiteY3" fmla="*/ 2487445 h 3961862"/>
              <a:gd name="connsiteX0" fmla="*/ 116397 w 5759583"/>
              <a:gd name="connsiteY0" fmla="*/ 2487445 h 3799980"/>
              <a:gd name="connsiteX1" fmla="*/ 3232170 w 5759583"/>
              <a:gd name="connsiteY1" fmla="*/ 42278 h 3799980"/>
              <a:gd name="connsiteX2" fmla="*/ 5032490 w 5759583"/>
              <a:gd name="connsiteY2" fmla="*/ 3642477 h 3799980"/>
              <a:gd name="connsiteX3" fmla="*/ 116397 w 5759583"/>
              <a:gd name="connsiteY3" fmla="*/ 2487445 h 3799980"/>
              <a:gd name="connsiteX0" fmla="*/ 116397 w 6115206"/>
              <a:gd name="connsiteY0" fmla="*/ 2487445 h 3807611"/>
              <a:gd name="connsiteX1" fmla="*/ 3232170 w 6115206"/>
              <a:gd name="connsiteY1" fmla="*/ 42278 h 3807611"/>
              <a:gd name="connsiteX2" fmla="*/ 5032490 w 6115206"/>
              <a:gd name="connsiteY2" fmla="*/ 3642477 h 3807611"/>
              <a:gd name="connsiteX3" fmla="*/ 116397 w 6115206"/>
              <a:gd name="connsiteY3" fmla="*/ 2487445 h 3807611"/>
              <a:gd name="connsiteX0" fmla="*/ 116397 w 6206862"/>
              <a:gd name="connsiteY0" fmla="*/ 2487445 h 3799576"/>
              <a:gd name="connsiteX1" fmla="*/ 3232170 w 6206862"/>
              <a:gd name="connsiteY1" fmla="*/ 42278 h 3799576"/>
              <a:gd name="connsiteX2" fmla="*/ 5032490 w 6206862"/>
              <a:gd name="connsiteY2" fmla="*/ 3642477 h 3799576"/>
              <a:gd name="connsiteX3" fmla="*/ 116397 w 6206862"/>
              <a:gd name="connsiteY3" fmla="*/ 2487445 h 3799576"/>
              <a:gd name="connsiteX0" fmla="*/ 124476 w 6214941"/>
              <a:gd name="connsiteY0" fmla="*/ 2454008 h 3766139"/>
              <a:gd name="connsiteX1" fmla="*/ 3240249 w 6214941"/>
              <a:gd name="connsiteY1" fmla="*/ 8841 h 3766139"/>
              <a:gd name="connsiteX2" fmla="*/ 5040569 w 6214941"/>
              <a:gd name="connsiteY2" fmla="*/ 3609040 h 3766139"/>
              <a:gd name="connsiteX3" fmla="*/ 124476 w 6214941"/>
              <a:gd name="connsiteY3" fmla="*/ 2454008 h 3766139"/>
              <a:gd name="connsiteX0" fmla="*/ 124476 w 6397505"/>
              <a:gd name="connsiteY0" fmla="*/ 2454008 h 3930790"/>
              <a:gd name="connsiteX1" fmla="*/ 3240249 w 6397505"/>
              <a:gd name="connsiteY1" fmla="*/ 8841 h 3930790"/>
              <a:gd name="connsiteX2" fmla="*/ 5040569 w 6397505"/>
              <a:gd name="connsiteY2" fmla="*/ 3609040 h 3930790"/>
              <a:gd name="connsiteX3" fmla="*/ 124476 w 6397505"/>
              <a:gd name="connsiteY3" fmla="*/ 2454008 h 3930790"/>
              <a:gd name="connsiteX0" fmla="*/ 159282 w 6432311"/>
              <a:gd name="connsiteY0" fmla="*/ 2456586 h 3933368"/>
              <a:gd name="connsiteX1" fmla="*/ 3275055 w 6432311"/>
              <a:gd name="connsiteY1" fmla="*/ 11419 h 3933368"/>
              <a:gd name="connsiteX2" fmla="*/ 5075375 w 6432311"/>
              <a:gd name="connsiteY2" fmla="*/ 3611618 h 3933368"/>
              <a:gd name="connsiteX3" fmla="*/ 159282 w 6432311"/>
              <a:gd name="connsiteY3" fmla="*/ 2456586 h 3933368"/>
              <a:gd name="connsiteX0" fmla="*/ 159282 w 6599093"/>
              <a:gd name="connsiteY0" fmla="*/ 2456586 h 3932011"/>
              <a:gd name="connsiteX1" fmla="*/ 3275055 w 6599093"/>
              <a:gd name="connsiteY1" fmla="*/ 11419 h 3932011"/>
              <a:gd name="connsiteX2" fmla="*/ 5075375 w 6599093"/>
              <a:gd name="connsiteY2" fmla="*/ 3611618 h 3932011"/>
              <a:gd name="connsiteX3" fmla="*/ 159282 w 6599093"/>
              <a:gd name="connsiteY3" fmla="*/ 2456586 h 3932011"/>
              <a:gd name="connsiteX0" fmla="*/ 26590 w 6423987"/>
              <a:gd name="connsiteY0" fmla="*/ 2451701 h 4246435"/>
              <a:gd name="connsiteX1" fmla="*/ 3142363 w 6423987"/>
              <a:gd name="connsiteY1" fmla="*/ 6534 h 4246435"/>
              <a:gd name="connsiteX2" fmla="*/ 4875447 w 6423987"/>
              <a:gd name="connsiteY2" fmla="*/ 3942910 h 4246435"/>
              <a:gd name="connsiteX3" fmla="*/ 26590 w 6423987"/>
              <a:gd name="connsiteY3" fmla="*/ 2451701 h 4246435"/>
              <a:gd name="connsiteX0" fmla="*/ 96204 w 6493601"/>
              <a:gd name="connsiteY0" fmla="*/ 2456221 h 4250955"/>
              <a:gd name="connsiteX1" fmla="*/ 3211977 w 6493601"/>
              <a:gd name="connsiteY1" fmla="*/ 11054 h 4250955"/>
              <a:gd name="connsiteX2" fmla="*/ 4945061 w 6493601"/>
              <a:gd name="connsiteY2" fmla="*/ 3947430 h 4250955"/>
              <a:gd name="connsiteX3" fmla="*/ 96204 w 6493601"/>
              <a:gd name="connsiteY3" fmla="*/ 2456221 h 4250955"/>
            </a:gdLst>
            <a:ahLst/>
            <a:cxnLst>
              <a:cxn ang="0">
                <a:pos x="connsiteX0" y="connsiteY0"/>
              </a:cxn>
              <a:cxn ang="0">
                <a:pos x="connsiteX1" y="connsiteY1"/>
              </a:cxn>
              <a:cxn ang="0">
                <a:pos x="connsiteX2" y="connsiteY2"/>
              </a:cxn>
              <a:cxn ang="0">
                <a:pos x="connsiteX3" y="connsiteY3"/>
              </a:cxn>
            </a:cxnLst>
            <a:rect l="l" t="t" r="r" b="b"/>
            <a:pathLst>
              <a:path w="6493601" h="4250955">
                <a:moveTo>
                  <a:pt x="96204" y="2456221"/>
                </a:moveTo>
                <a:cubicBezTo>
                  <a:pt x="-515372" y="952994"/>
                  <a:pt x="1939438" y="-121529"/>
                  <a:pt x="3211977" y="11054"/>
                </a:cubicBezTo>
                <a:cubicBezTo>
                  <a:pt x="7012563" y="291555"/>
                  <a:pt x="7403564" y="5551062"/>
                  <a:pt x="4945061" y="3947430"/>
                </a:cubicBezTo>
                <a:cubicBezTo>
                  <a:pt x="2486558" y="2343798"/>
                  <a:pt x="707780" y="3959448"/>
                  <a:pt x="96204" y="2456221"/>
                </a:cubicBezTo>
                <a:close/>
              </a:path>
            </a:pathLst>
          </a:custGeom>
          <a:noFill/>
          <a:ln w="38100">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nvGrpSpPr>
          <p:cNvPr id="20" name="Group 19">
            <a:extLst>
              <a:ext uri="{FF2B5EF4-FFF2-40B4-BE49-F238E27FC236}">
                <a16:creationId xmlns:a16="http://schemas.microsoft.com/office/drawing/2014/main" id="{A98EEF5F-359B-0A3E-4703-17D54C337F7D}"/>
              </a:ext>
            </a:extLst>
          </p:cNvPr>
          <p:cNvGrpSpPr/>
          <p:nvPr userDrawn="1"/>
        </p:nvGrpSpPr>
        <p:grpSpPr>
          <a:xfrm>
            <a:off x="5006360" y="3793035"/>
            <a:ext cx="3298953" cy="130784"/>
            <a:chOff x="3862913" y="5584851"/>
            <a:chExt cx="3422601" cy="153845"/>
          </a:xfrm>
        </p:grpSpPr>
        <p:sp>
          <p:nvSpPr>
            <p:cNvPr id="21" name="Rectangle 20">
              <a:extLst>
                <a:ext uri="{FF2B5EF4-FFF2-40B4-BE49-F238E27FC236}">
                  <a16:creationId xmlns:a16="http://schemas.microsoft.com/office/drawing/2014/main" id="{556F995B-79E9-40FC-EC4F-418B254CB2F2}"/>
                </a:ext>
              </a:extLst>
            </p:cNvPr>
            <p:cNvSpPr/>
            <p:nvPr/>
          </p:nvSpPr>
          <p:spPr>
            <a:xfrm>
              <a:off x="3897354" y="5609493"/>
              <a:ext cx="661045" cy="1078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22" name="Rectangle 21">
              <a:extLst>
                <a:ext uri="{FF2B5EF4-FFF2-40B4-BE49-F238E27FC236}">
                  <a16:creationId xmlns:a16="http://schemas.microsoft.com/office/drawing/2014/main" id="{B194BB79-1436-93AE-C419-4272735B402A}"/>
                </a:ext>
              </a:extLst>
            </p:cNvPr>
            <p:cNvSpPr/>
            <p:nvPr/>
          </p:nvSpPr>
          <p:spPr>
            <a:xfrm>
              <a:off x="5222038" y="5613190"/>
              <a:ext cx="661045" cy="10784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23" name="Rectangle 22">
              <a:extLst>
                <a:ext uri="{FF2B5EF4-FFF2-40B4-BE49-F238E27FC236}">
                  <a16:creationId xmlns:a16="http://schemas.microsoft.com/office/drawing/2014/main" id="{A5E49EA0-238C-A57E-25DD-3AE5FA909392}"/>
                </a:ext>
              </a:extLst>
            </p:cNvPr>
            <p:cNvSpPr/>
            <p:nvPr/>
          </p:nvSpPr>
          <p:spPr>
            <a:xfrm>
              <a:off x="6544127" y="5604473"/>
              <a:ext cx="661045" cy="1078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24" name="Rectangle 23">
              <a:extLst>
                <a:ext uri="{FF2B5EF4-FFF2-40B4-BE49-F238E27FC236}">
                  <a16:creationId xmlns:a16="http://schemas.microsoft.com/office/drawing/2014/main" id="{5D4FB821-AE71-3E47-8FDD-50A9F310CACD}"/>
                </a:ext>
              </a:extLst>
            </p:cNvPr>
            <p:cNvSpPr/>
            <p:nvPr/>
          </p:nvSpPr>
          <p:spPr>
            <a:xfrm>
              <a:off x="5883081" y="5602319"/>
              <a:ext cx="661045" cy="1078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25" name="Rectangle 24">
              <a:extLst>
                <a:ext uri="{FF2B5EF4-FFF2-40B4-BE49-F238E27FC236}">
                  <a16:creationId xmlns:a16="http://schemas.microsoft.com/office/drawing/2014/main" id="{62FFEF12-AF16-8E0C-F5E3-647B245A5DB7}"/>
                </a:ext>
              </a:extLst>
            </p:cNvPr>
            <p:cNvSpPr/>
            <p:nvPr/>
          </p:nvSpPr>
          <p:spPr>
            <a:xfrm>
              <a:off x="4559264" y="5609493"/>
              <a:ext cx="661045" cy="1078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26" name="Rectangle 25">
              <a:extLst>
                <a:ext uri="{FF2B5EF4-FFF2-40B4-BE49-F238E27FC236}">
                  <a16:creationId xmlns:a16="http://schemas.microsoft.com/office/drawing/2014/main" id="{72FE276A-B176-37F5-81DD-A7FA387951E0}"/>
                </a:ext>
              </a:extLst>
            </p:cNvPr>
            <p:cNvSpPr/>
            <p:nvPr/>
          </p:nvSpPr>
          <p:spPr>
            <a:xfrm>
              <a:off x="3862913" y="5584851"/>
              <a:ext cx="3420960" cy="54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7" name="Rectangle 26">
              <a:extLst>
                <a:ext uri="{FF2B5EF4-FFF2-40B4-BE49-F238E27FC236}">
                  <a16:creationId xmlns:a16="http://schemas.microsoft.com/office/drawing/2014/main" id="{BAB844B3-BEDC-58B8-BBE2-4A2BD1B962B6}"/>
                </a:ext>
              </a:extLst>
            </p:cNvPr>
            <p:cNvSpPr/>
            <p:nvPr/>
          </p:nvSpPr>
          <p:spPr>
            <a:xfrm>
              <a:off x="3864554" y="5684434"/>
              <a:ext cx="3420960" cy="54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sp>
        <p:nvSpPr>
          <p:cNvPr id="17" name="Picture Placeholder 16">
            <a:extLst>
              <a:ext uri="{FF2B5EF4-FFF2-40B4-BE49-F238E27FC236}">
                <a16:creationId xmlns:a16="http://schemas.microsoft.com/office/drawing/2014/main" id="{08563960-8154-819B-975D-B17D16AA2508}"/>
              </a:ext>
            </a:extLst>
          </p:cNvPr>
          <p:cNvSpPr>
            <a:spLocks noGrp="1"/>
          </p:cNvSpPr>
          <p:nvPr>
            <p:ph type="pic" sz="quarter" idx="10"/>
          </p:nvPr>
        </p:nvSpPr>
        <p:spPr>
          <a:xfrm>
            <a:off x="0" y="0"/>
            <a:ext cx="3419298" cy="6858000"/>
          </a:xfrm>
          <a:custGeom>
            <a:avLst/>
            <a:gdLst>
              <a:gd name="connsiteX0" fmla="*/ 0 w 4559064"/>
              <a:gd name="connsiteY0" fmla="*/ 0 h 6858000"/>
              <a:gd name="connsiteX1" fmla="*/ 3436547 w 4559064"/>
              <a:gd name="connsiteY1" fmla="*/ 0 h 6858000"/>
              <a:gd name="connsiteX2" fmla="*/ 3486113 w 4559064"/>
              <a:gd name="connsiteY2" fmla="*/ 50380 h 6858000"/>
              <a:gd name="connsiteX3" fmla="*/ 4505103 w 4559064"/>
              <a:gd name="connsiteY3" fmla="*/ 3615110 h 6858000"/>
              <a:gd name="connsiteX4" fmla="*/ 2867386 w 4559064"/>
              <a:gd name="connsiteY4" fmla="*/ 6834846 h 6858000"/>
              <a:gd name="connsiteX5" fmla="*/ 2848782 w 4559064"/>
              <a:gd name="connsiteY5" fmla="*/ 6848973 h 6858000"/>
              <a:gd name="connsiteX6" fmla="*/ 2835078 w 4559064"/>
              <a:gd name="connsiteY6" fmla="*/ 6858000 h 6858000"/>
              <a:gd name="connsiteX7" fmla="*/ 0 w 4559064"/>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59064" h="6858000">
                <a:moveTo>
                  <a:pt x="0" y="0"/>
                </a:moveTo>
                <a:lnTo>
                  <a:pt x="3436547" y="0"/>
                </a:lnTo>
                <a:lnTo>
                  <a:pt x="3486113" y="50380"/>
                </a:lnTo>
                <a:cubicBezTo>
                  <a:pt x="4418018" y="1058627"/>
                  <a:pt x="4688463" y="2594351"/>
                  <a:pt x="4505103" y="3615110"/>
                </a:cubicBezTo>
                <a:cubicBezTo>
                  <a:pt x="4358416" y="4431718"/>
                  <a:pt x="3774605" y="5735358"/>
                  <a:pt x="2867386" y="6834846"/>
                </a:cubicBezTo>
                <a:cubicBezTo>
                  <a:pt x="2864078" y="6838585"/>
                  <a:pt x="2856912" y="6843618"/>
                  <a:pt x="2848782" y="6848973"/>
                </a:cubicBezTo>
                <a:lnTo>
                  <a:pt x="2835078" y="6858000"/>
                </a:lnTo>
                <a:lnTo>
                  <a:pt x="0" y="6858000"/>
                </a:lnTo>
                <a:close/>
              </a:path>
            </a:pathLst>
          </a:custGeom>
          <a:solidFill>
            <a:schemeClr val="bg1">
              <a:lumMod val="95000"/>
            </a:schemeClr>
          </a:solidFill>
        </p:spPr>
        <p:txBody>
          <a:bodyPr wrap="square"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99876881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308F2A-1C19-4116-80DF-E24EDDF283FF}"/>
              </a:ext>
            </a:extLst>
          </p:cNvPr>
          <p:cNvSpPr>
            <a:spLocks noGrp="1"/>
          </p:cNvSpPr>
          <p:nvPr>
            <p:ph type="title"/>
          </p:nvPr>
        </p:nvSpPr>
        <p:spPr>
          <a:xfrm>
            <a:off x="582930" y="1051560"/>
            <a:ext cx="3696462" cy="1325880"/>
          </a:xfrm>
        </p:spPr>
        <p:txBody>
          <a:bodyPr anchor="ctr">
            <a:noAutofit/>
          </a:bodyPr>
          <a:lstStyle>
            <a:lvl1pPr>
              <a:defRPr sz="3600"/>
            </a:lvl1pPr>
          </a:lstStyle>
          <a:p>
            <a:r>
              <a:rPr lang="en-US"/>
              <a:t>Click to edit Master title style</a:t>
            </a:r>
          </a:p>
        </p:txBody>
      </p:sp>
      <p:sp>
        <p:nvSpPr>
          <p:cNvPr id="9" name="Triangle 2">
            <a:extLst>
              <a:ext uri="{FF2B5EF4-FFF2-40B4-BE49-F238E27FC236}">
                <a16:creationId xmlns:a16="http://schemas.microsoft.com/office/drawing/2014/main" id="{5EB8A065-03DB-880F-ECEB-1EB0C3BA3ED4}"/>
              </a:ext>
            </a:extLst>
          </p:cNvPr>
          <p:cNvSpPr/>
          <p:nvPr userDrawn="1"/>
        </p:nvSpPr>
        <p:spPr>
          <a:xfrm rot="18063433">
            <a:off x="4738360" y="3715814"/>
            <a:ext cx="2243660" cy="1255193"/>
          </a:xfrm>
          <a:custGeom>
            <a:avLst/>
            <a:gdLst>
              <a:gd name="connsiteX0" fmla="*/ 0 w 4306493"/>
              <a:gd name="connsiteY0" fmla="*/ 3712494 h 3712494"/>
              <a:gd name="connsiteX1" fmla="*/ 2153247 w 4306493"/>
              <a:gd name="connsiteY1" fmla="*/ 0 h 3712494"/>
              <a:gd name="connsiteX2" fmla="*/ 4306493 w 4306493"/>
              <a:gd name="connsiteY2" fmla="*/ 3712494 h 3712494"/>
              <a:gd name="connsiteX3" fmla="*/ 0 w 4306493"/>
              <a:gd name="connsiteY3" fmla="*/ 3712494 h 3712494"/>
              <a:gd name="connsiteX0" fmla="*/ 0 w 4306493"/>
              <a:gd name="connsiteY0" fmla="*/ 3696452 h 3696452"/>
              <a:gd name="connsiteX1" fmla="*/ 2329710 w 4306493"/>
              <a:gd name="connsiteY1" fmla="*/ 0 h 3696452"/>
              <a:gd name="connsiteX2" fmla="*/ 4306493 w 4306493"/>
              <a:gd name="connsiteY2" fmla="*/ 3696452 h 3696452"/>
              <a:gd name="connsiteX3" fmla="*/ 0 w 4306493"/>
              <a:gd name="connsiteY3" fmla="*/ 3696452 h 3696452"/>
              <a:gd name="connsiteX0" fmla="*/ 37309 w 4402235"/>
              <a:gd name="connsiteY0" fmla="*/ 3696452 h 3696452"/>
              <a:gd name="connsiteX1" fmla="*/ 2367019 w 4402235"/>
              <a:gd name="connsiteY1" fmla="*/ 0 h 3696452"/>
              <a:gd name="connsiteX2" fmla="*/ 4343802 w 4402235"/>
              <a:gd name="connsiteY2" fmla="*/ 3696452 h 3696452"/>
              <a:gd name="connsiteX3" fmla="*/ 37309 w 4402235"/>
              <a:gd name="connsiteY3" fmla="*/ 3696452 h 3696452"/>
              <a:gd name="connsiteX0" fmla="*/ 37309 w 4758551"/>
              <a:gd name="connsiteY0" fmla="*/ 3696452 h 3696452"/>
              <a:gd name="connsiteX1" fmla="*/ 2367019 w 4758551"/>
              <a:gd name="connsiteY1" fmla="*/ 0 h 3696452"/>
              <a:gd name="connsiteX2" fmla="*/ 4343802 w 4758551"/>
              <a:gd name="connsiteY2" fmla="*/ 3696452 h 3696452"/>
              <a:gd name="connsiteX3" fmla="*/ 37309 w 4758551"/>
              <a:gd name="connsiteY3" fmla="*/ 3696452 h 3696452"/>
              <a:gd name="connsiteX0" fmla="*/ 379572 w 5100814"/>
              <a:gd name="connsiteY0" fmla="*/ 3696452 h 3696452"/>
              <a:gd name="connsiteX1" fmla="*/ 2709282 w 5100814"/>
              <a:gd name="connsiteY1" fmla="*/ 0 h 3696452"/>
              <a:gd name="connsiteX2" fmla="*/ 4686065 w 5100814"/>
              <a:gd name="connsiteY2" fmla="*/ 3696452 h 3696452"/>
              <a:gd name="connsiteX3" fmla="*/ 379572 w 5100814"/>
              <a:gd name="connsiteY3" fmla="*/ 3696452 h 3696452"/>
              <a:gd name="connsiteX0" fmla="*/ 527795 w 5425824"/>
              <a:gd name="connsiteY0" fmla="*/ 3696657 h 3696657"/>
              <a:gd name="connsiteX1" fmla="*/ 2857505 w 5425824"/>
              <a:gd name="connsiteY1" fmla="*/ 205 h 3696657"/>
              <a:gd name="connsiteX2" fmla="*/ 4834288 w 5425824"/>
              <a:gd name="connsiteY2" fmla="*/ 3696657 h 3696657"/>
              <a:gd name="connsiteX3" fmla="*/ 527795 w 5425824"/>
              <a:gd name="connsiteY3" fmla="*/ 3696657 h 3696657"/>
              <a:gd name="connsiteX0" fmla="*/ 507350 w 5405379"/>
              <a:gd name="connsiteY0" fmla="*/ 3696679 h 3853535"/>
              <a:gd name="connsiteX1" fmla="*/ 2837060 w 5405379"/>
              <a:gd name="connsiteY1" fmla="*/ 227 h 3853535"/>
              <a:gd name="connsiteX2" fmla="*/ 4813843 w 5405379"/>
              <a:gd name="connsiteY2" fmla="*/ 3696679 h 3853535"/>
              <a:gd name="connsiteX3" fmla="*/ 507350 w 5405379"/>
              <a:gd name="connsiteY3" fmla="*/ 3696679 h 3853535"/>
              <a:gd name="connsiteX0" fmla="*/ 321130 w 5326541"/>
              <a:gd name="connsiteY0" fmla="*/ 2552473 h 3795422"/>
              <a:gd name="connsiteX1" fmla="*/ 3260440 w 5326541"/>
              <a:gd name="connsiteY1" fmla="*/ 11053 h 3795422"/>
              <a:gd name="connsiteX2" fmla="*/ 5237223 w 5326541"/>
              <a:gd name="connsiteY2" fmla="*/ 3707505 h 3795422"/>
              <a:gd name="connsiteX3" fmla="*/ 321130 w 5326541"/>
              <a:gd name="connsiteY3" fmla="*/ 2552473 h 3795422"/>
              <a:gd name="connsiteX0" fmla="*/ 131275 w 5136686"/>
              <a:gd name="connsiteY0" fmla="*/ 2556035 h 3848881"/>
              <a:gd name="connsiteX1" fmla="*/ 3070585 w 5136686"/>
              <a:gd name="connsiteY1" fmla="*/ 14615 h 3848881"/>
              <a:gd name="connsiteX2" fmla="*/ 5047368 w 5136686"/>
              <a:gd name="connsiteY2" fmla="*/ 3711067 h 3848881"/>
              <a:gd name="connsiteX3" fmla="*/ 131275 w 5136686"/>
              <a:gd name="connsiteY3" fmla="*/ 2556035 h 3848881"/>
              <a:gd name="connsiteX0" fmla="*/ 139833 w 5155503"/>
              <a:gd name="connsiteY0" fmla="*/ 2577742 h 3870588"/>
              <a:gd name="connsiteX1" fmla="*/ 3079143 w 5155503"/>
              <a:gd name="connsiteY1" fmla="*/ 36322 h 3870588"/>
              <a:gd name="connsiteX2" fmla="*/ 5055926 w 5155503"/>
              <a:gd name="connsiteY2" fmla="*/ 3732774 h 3870588"/>
              <a:gd name="connsiteX3" fmla="*/ 139833 w 5155503"/>
              <a:gd name="connsiteY3" fmla="*/ 2577742 h 3870588"/>
              <a:gd name="connsiteX0" fmla="*/ 26029 w 5061836"/>
              <a:gd name="connsiteY0" fmla="*/ 2477397 h 3730043"/>
              <a:gd name="connsiteX1" fmla="*/ 3141802 w 5061836"/>
              <a:gd name="connsiteY1" fmla="*/ 32230 h 3730043"/>
              <a:gd name="connsiteX2" fmla="*/ 4942122 w 5061836"/>
              <a:gd name="connsiteY2" fmla="*/ 3632429 h 3730043"/>
              <a:gd name="connsiteX3" fmla="*/ 26029 w 5061836"/>
              <a:gd name="connsiteY3" fmla="*/ 2477397 h 3730043"/>
              <a:gd name="connsiteX0" fmla="*/ 116397 w 5152204"/>
              <a:gd name="connsiteY0" fmla="*/ 2487445 h 3802029"/>
              <a:gd name="connsiteX1" fmla="*/ 3232170 w 5152204"/>
              <a:gd name="connsiteY1" fmla="*/ 42278 h 3802029"/>
              <a:gd name="connsiteX2" fmla="*/ 5032490 w 5152204"/>
              <a:gd name="connsiteY2" fmla="*/ 3642477 h 3802029"/>
              <a:gd name="connsiteX3" fmla="*/ 116397 w 5152204"/>
              <a:gd name="connsiteY3" fmla="*/ 2487445 h 3802029"/>
              <a:gd name="connsiteX0" fmla="*/ 116397 w 5311374"/>
              <a:gd name="connsiteY0" fmla="*/ 2487445 h 3961862"/>
              <a:gd name="connsiteX1" fmla="*/ 3232170 w 5311374"/>
              <a:gd name="connsiteY1" fmla="*/ 42278 h 3961862"/>
              <a:gd name="connsiteX2" fmla="*/ 5032490 w 5311374"/>
              <a:gd name="connsiteY2" fmla="*/ 3642477 h 3961862"/>
              <a:gd name="connsiteX3" fmla="*/ 116397 w 5311374"/>
              <a:gd name="connsiteY3" fmla="*/ 2487445 h 3961862"/>
            </a:gdLst>
            <a:ahLst/>
            <a:cxnLst>
              <a:cxn ang="0">
                <a:pos x="connsiteX0" y="connsiteY0"/>
              </a:cxn>
              <a:cxn ang="0">
                <a:pos x="connsiteX1" y="connsiteY1"/>
              </a:cxn>
              <a:cxn ang="0">
                <a:pos x="connsiteX2" y="connsiteY2"/>
              </a:cxn>
              <a:cxn ang="0">
                <a:pos x="connsiteX3" y="connsiteY3"/>
              </a:cxn>
            </a:cxnLst>
            <a:rect l="l" t="t" r="r" b="b"/>
            <a:pathLst>
              <a:path w="5311374" h="3961862">
                <a:moveTo>
                  <a:pt x="116397" y="2487445"/>
                </a:moveTo>
                <a:cubicBezTo>
                  <a:pt x="-600751" y="1293854"/>
                  <a:pt x="2188231" y="-278564"/>
                  <a:pt x="3232170" y="42278"/>
                </a:cubicBezTo>
                <a:cubicBezTo>
                  <a:pt x="4276109" y="363120"/>
                  <a:pt x="5984922" y="2865980"/>
                  <a:pt x="5032490" y="3642477"/>
                </a:cubicBezTo>
                <a:cubicBezTo>
                  <a:pt x="4080058" y="4418974"/>
                  <a:pt x="833545" y="3681036"/>
                  <a:pt x="116397" y="2487445"/>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1" name="Triangle 2">
            <a:extLst>
              <a:ext uri="{FF2B5EF4-FFF2-40B4-BE49-F238E27FC236}">
                <a16:creationId xmlns:a16="http://schemas.microsoft.com/office/drawing/2014/main" id="{245AC05D-9D11-0077-E419-8E8CFFDA5874}"/>
              </a:ext>
            </a:extLst>
          </p:cNvPr>
          <p:cNvSpPr/>
          <p:nvPr userDrawn="1"/>
        </p:nvSpPr>
        <p:spPr>
          <a:xfrm rot="16535288">
            <a:off x="4673877" y="1013289"/>
            <a:ext cx="4197907" cy="2061080"/>
          </a:xfrm>
          <a:custGeom>
            <a:avLst/>
            <a:gdLst>
              <a:gd name="connsiteX0" fmla="*/ 0 w 4306493"/>
              <a:gd name="connsiteY0" fmla="*/ 3712494 h 3712494"/>
              <a:gd name="connsiteX1" fmla="*/ 2153247 w 4306493"/>
              <a:gd name="connsiteY1" fmla="*/ 0 h 3712494"/>
              <a:gd name="connsiteX2" fmla="*/ 4306493 w 4306493"/>
              <a:gd name="connsiteY2" fmla="*/ 3712494 h 3712494"/>
              <a:gd name="connsiteX3" fmla="*/ 0 w 4306493"/>
              <a:gd name="connsiteY3" fmla="*/ 3712494 h 3712494"/>
              <a:gd name="connsiteX0" fmla="*/ 0 w 4306493"/>
              <a:gd name="connsiteY0" fmla="*/ 3696452 h 3696452"/>
              <a:gd name="connsiteX1" fmla="*/ 2329710 w 4306493"/>
              <a:gd name="connsiteY1" fmla="*/ 0 h 3696452"/>
              <a:gd name="connsiteX2" fmla="*/ 4306493 w 4306493"/>
              <a:gd name="connsiteY2" fmla="*/ 3696452 h 3696452"/>
              <a:gd name="connsiteX3" fmla="*/ 0 w 4306493"/>
              <a:gd name="connsiteY3" fmla="*/ 3696452 h 3696452"/>
              <a:gd name="connsiteX0" fmla="*/ 37309 w 4402235"/>
              <a:gd name="connsiteY0" fmla="*/ 3696452 h 3696452"/>
              <a:gd name="connsiteX1" fmla="*/ 2367019 w 4402235"/>
              <a:gd name="connsiteY1" fmla="*/ 0 h 3696452"/>
              <a:gd name="connsiteX2" fmla="*/ 4343802 w 4402235"/>
              <a:gd name="connsiteY2" fmla="*/ 3696452 h 3696452"/>
              <a:gd name="connsiteX3" fmla="*/ 37309 w 4402235"/>
              <a:gd name="connsiteY3" fmla="*/ 3696452 h 3696452"/>
              <a:gd name="connsiteX0" fmla="*/ 37309 w 4758551"/>
              <a:gd name="connsiteY0" fmla="*/ 3696452 h 3696452"/>
              <a:gd name="connsiteX1" fmla="*/ 2367019 w 4758551"/>
              <a:gd name="connsiteY1" fmla="*/ 0 h 3696452"/>
              <a:gd name="connsiteX2" fmla="*/ 4343802 w 4758551"/>
              <a:gd name="connsiteY2" fmla="*/ 3696452 h 3696452"/>
              <a:gd name="connsiteX3" fmla="*/ 37309 w 4758551"/>
              <a:gd name="connsiteY3" fmla="*/ 3696452 h 3696452"/>
              <a:gd name="connsiteX0" fmla="*/ 379572 w 5100814"/>
              <a:gd name="connsiteY0" fmla="*/ 3696452 h 3696452"/>
              <a:gd name="connsiteX1" fmla="*/ 2709282 w 5100814"/>
              <a:gd name="connsiteY1" fmla="*/ 0 h 3696452"/>
              <a:gd name="connsiteX2" fmla="*/ 4686065 w 5100814"/>
              <a:gd name="connsiteY2" fmla="*/ 3696452 h 3696452"/>
              <a:gd name="connsiteX3" fmla="*/ 379572 w 5100814"/>
              <a:gd name="connsiteY3" fmla="*/ 3696452 h 3696452"/>
              <a:gd name="connsiteX0" fmla="*/ 527795 w 5425824"/>
              <a:gd name="connsiteY0" fmla="*/ 3696657 h 3696657"/>
              <a:gd name="connsiteX1" fmla="*/ 2857505 w 5425824"/>
              <a:gd name="connsiteY1" fmla="*/ 205 h 3696657"/>
              <a:gd name="connsiteX2" fmla="*/ 4834288 w 5425824"/>
              <a:gd name="connsiteY2" fmla="*/ 3696657 h 3696657"/>
              <a:gd name="connsiteX3" fmla="*/ 527795 w 5425824"/>
              <a:gd name="connsiteY3" fmla="*/ 3696657 h 3696657"/>
              <a:gd name="connsiteX0" fmla="*/ 507350 w 5405379"/>
              <a:gd name="connsiteY0" fmla="*/ 3696679 h 3853535"/>
              <a:gd name="connsiteX1" fmla="*/ 2837060 w 5405379"/>
              <a:gd name="connsiteY1" fmla="*/ 227 h 3853535"/>
              <a:gd name="connsiteX2" fmla="*/ 4813843 w 5405379"/>
              <a:gd name="connsiteY2" fmla="*/ 3696679 h 3853535"/>
              <a:gd name="connsiteX3" fmla="*/ 507350 w 5405379"/>
              <a:gd name="connsiteY3" fmla="*/ 3696679 h 3853535"/>
              <a:gd name="connsiteX0" fmla="*/ 321130 w 5326541"/>
              <a:gd name="connsiteY0" fmla="*/ 2552473 h 3795422"/>
              <a:gd name="connsiteX1" fmla="*/ 3260440 w 5326541"/>
              <a:gd name="connsiteY1" fmla="*/ 11053 h 3795422"/>
              <a:gd name="connsiteX2" fmla="*/ 5237223 w 5326541"/>
              <a:gd name="connsiteY2" fmla="*/ 3707505 h 3795422"/>
              <a:gd name="connsiteX3" fmla="*/ 321130 w 5326541"/>
              <a:gd name="connsiteY3" fmla="*/ 2552473 h 3795422"/>
              <a:gd name="connsiteX0" fmla="*/ 131275 w 5136686"/>
              <a:gd name="connsiteY0" fmla="*/ 2556035 h 3848881"/>
              <a:gd name="connsiteX1" fmla="*/ 3070585 w 5136686"/>
              <a:gd name="connsiteY1" fmla="*/ 14615 h 3848881"/>
              <a:gd name="connsiteX2" fmla="*/ 5047368 w 5136686"/>
              <a:gd name="connsiteY2" fmla="*/ 3711067 h 3848881"/>
              <a:gd name="connsiteX3" fmla="*/ 131275 w 5136686"/>
              <a:gd name="connsiteY3" fmla="*/ 2556035 h 3848881"/>
              <a:gd name="connsiteX0" fmla="*/ 139833 w 5155503"/>
              <a:gd name="connsiteY0" fmla="*/ 2577742 h 3870588"/>
              <a:gd name="connsiteX1" fmla="*/ 3079143 w 5155503"/>
              <a:gd name="connsiteY1" fmla="*/ 36322 h 3870588"/>
              <a:gd name="connsiteX2" fmla="*/ 5055926 w 5155503"/>
              <a:gd name="connsiteY2" fmla="*/ 3732774 h 3870588"/>
              <a:gd name="connsiteX3" fmla="*/ 139833 w 5155503"/>
              <a:gd name="connsiteY3" fmla="*/ 2577742 h 3870588"/>
              <a:gd name="connsiteX0" fmla="*/ 26029 w 5061836"/>
              <a:gd name="connsiteY0" fmla="*/ 2477397 h 3730043"/>
              <a:gd name="connsiteX1" fmla="*/ 3141802 w 5061836"/>
              <a:gd name="connsiteY1" fmla="*/ 32230 h 3730043"/>
              <a:gd name="connsiteX2" fmla="*/ 4942122 w 5061836"/>
              <a:gd name="connsiteY2" fmla="*/ 3632429 h 3730043"/>
              <a:gd name="connsiteX3" fmla="*/ 26029 w 5061836"/>
              <a:gd name="connsiteY3" fmla="*/ 2477397 h 3730043"/>
              <a:gd name="connsiteX0" fmla="*/ 116397 w 5152204"/>
              <a:gd name="connsiteY0" fmla="*/ 2487445 h 3802029"/>
              <a:gd name="connsiteX1" fmla="*/ 3232170 w 5152204"/>
              <a:gd name="connsiteY1" fmla="*/ 42278 h 3802029"/>
              <a:gd name="connsiteX2" fmla="*/ 5032490 w 5152204"/>
              <a:gd name="connsiteY2" fmla="*/ 3642477 h 3802029"/>
              <a:gd name="connsiteX3" fmla="*/ 116397 w 5152204"/>
              <a:gd name="connsiteY3" fmla="*/ 2487445 h 3802029"/>
              <a:gd name="connsiteX0" fmla="*/ 116397 w 5311374"/>
              <a:gd name="connsiteY0" fmla="*/ 2487445 h 3961862"/>
              <a:gd name="connsiteX1" fmla="*/ 3232170 w 5311374"/>
              <a:gd name="connsiteY1" fmla="*/ 42278 h 3961862"/>
              <a:gd name="connsiteX2" fmla="*/ 5032490 w 5311374"/>
              <a:gd name="connsiteY2" fmla="*/ 3642477 h 3961862"/>
              <a:gd name="connsiteX3" fmla="*/ 116397 w 5311374"/>
              <a:gd name="connsiteY3" fmla="*/ 2487445 h 3961862"/>
              <a:gd name="connsiteX0" fmla="*/ 116397 w 5759583"/>
              <a:gd name="connsiteY0" fmla="*/ 2487445 h 3799980"/>
              <a:gd name="connsiteX1" fmla="*/ 3232170 w 5759583"/>
              <a:gd name="connsiteY1" fmla="*/ 42278 h 3799980"/>
              <a:gd name="connsiteX2" fmla="*/ 5032490 w 5759583"/>
              <a:gd name="connsiteY2" fmla="*/ 3642477 h 3799980"/>
              <a:gd name="connsiteX3" fmla="*/ 116397 w 5759583"/>
              <a:gd name="connsiteY3" fmla="*/ 2487445 h 3799980"/>
              <a:gd name="connsiteX0" fmla="*/ 116397 w 6115206"/>
              <a:gd name="connsiteY0" fmla="*/ 2487445 h 3807611"/>
              <a:gd name="connsiteX1" fmla="*/ 3232170 w 6115206"/>
              <a:gd name="connsiteY1" fmla="*/ 42278 h 3807611"/>
              <a:gd name="connsiteX2" fmla="*/ 5032490 w 6115206"/>
              <a:gd name="connsiteY2" fmla="*/ 3642477 h 3807611"/>
              <a:gd name="connsiteX3" fmla="*/ 116397 w 6115206"/>
              <a:gd name="connsiteY3" fmla="*/ 2487445 h 3807611"/>
              <a:gd name="connsiteX0" fmla="*/ 116397 w 6206862"/>
              <a:gd name="connsiteY0" fmla="*/ 2487445 h 3799576"/>
              <a:gd name="connsiteX1" fmla="*/ 3232170 w 6206862"/>
              <a:gd name="connsiteY1" fmla="*/ 42278 h 3799576"/>
              <a:gd name="connsiteX2" fmla="*/ 5032490 w 6206862"/>
              <a:gd name="connsiteY2" fmla="*/ 3642477 h 3799576"/>
              <a:gd name="connsiteX3" fmla="*/ 116397 w 6206862"/>
              <a:gd name="connsiteY3" fmla="*/ 2487445 h 3799576"/>
              <a:gd name="connsiteX0" fmla="*/ 124476 w 6214941"/>
              <a:gd name="connsiteY0" fmla="*/ 2454008 h 3766139"/>
              <a:gd name="connsiteX1" fmla="*/ 3240249 w 6214941"/>
              <a:gd name="connsiteY1" fmla="*/ 8841 h 3766139"/>
              <a:gd name="connsiteX2" fmla="*/ 5040569 w 6214941"/>
              <a:gd name="connsiteY2" fmla="*/ 3609040 h 3766139"/>
              <a:gd name="connsiteX3" fmla="*/ 124476 w 6214941"/>
              <a:gd name="connsiteY3" fmla="*/ 2454008 h 3766139"/>
              <a:gd name="connsiteX0" fmla="*/ 124476 w 6397505"/>
              <a:gd name="connsiteY0" fmla="*/ 2454008 h 3930790"/>
              <a:gd name="connsiteX1" fmla="*/ 3240249 w 6397505"/>
              <a:gd name="connsiteY1" fmla="*/ 8841 h 3930790"/>
              <a:gd name="connsiteX2" fmla="*/ 5040569 w 6397505"/>
              <a:gd name="connsiteY2" fmla="*/ 3609040 h 3930790"/>
              <a:gd name="connsiteX3" fmla="*/ 124476 w 6397505"/>
              <a:gd name="connsiteY3" fmla="*/ 2454008 h 3930790"/>
              <a:gd name="connsiteX0" fmla="*/ 159282 w 6432311"/>
              <a:gd name="connsiteY0" fmla="*/ 2456586 h 3933368"/>
              <a:gd name="connsiteX1" fmla="*/ 3275055 w 6432311"/>
              <a:gd name="connsiteY1" fmla="*/ 11419 h 3933368"/>
              <a:gd name="connsiteX2" fmla="*/ 5075375 w 6432311"/>
              <a:gd name="connsiteY2" fmla="*/ 3611618 h 3933368"/>
              <a:gd name="connsiteX3" fmla="*/ 159282 w 6432311"/>
              <a:gd name="connsiteY3" fmla="*/ 2456586 h 3933368"/>
              <a:gd name="connsiteX0" fmla="*/ 159282 w 6599093"/>
              <a:gd name="connsiteY0" fmla="*/ 2456586 h 3932011"/>
              <a:gd name="connsiteX1" fmla="*/ 3275055 w 6599093"/>
              <a:gd name="connsiteY1" fmla="*/ 11419 h 3932011"/>
              <a:gd name="connsiteX2" fmla="*/ 5075375 w 6599093"/>
              <a:gd name="connsiteY2" fmla="*/ 3611618 h 3932011"/>
              <a:gd name="connsiteX3" fmla="*/ 159282 w 6599093"/>
              <a:gd name="connsiteY3" fmla="*/ 2456586 h 3932011"/>
              <a:gd name="connsiteX0" fmla="*/ 26590 w 6423987"/>
              <a:gd name="connsiteY0" fmla="*/ 2451701 h 4246435"/>
              <a:gd name="connsiteX1" fmla="*/ 3142363 w 6423987"/>
              <a:gd name="connsiteY1" fmla="*/ 6534 h 4246435"/>
              <a:gd name="connsiteX2" fmla="*/ 4875447 w 6423987"/>
              <a:gd name="connsiteY2" fmla="*/ 3942910 h 4246435"/>
              <a:gd name="connsiteX3" fmla="*/ 26590 w 6423987"/>
              <a:gd name="connsiteY3" fmla="*/ 2451701 h 4246435"/>
              <a:gd name="connsiteX0" fmla="*/ 96204 w 6493601"/>
              <a:gd name="connsiteY0" fmla="*/ 2456221 h 4250955"/>
              <a:gd name="connsiteX1" fmla="*/ 3211977 w 6493601"/>
              <a:gd name="connsiteY1" fmla="*/ 11054 h 4250955"/>
              <a:gd name="connsiteX2" fmla="*/ 4945061 w 6493601"/>
              <a:gd name="connsiteY2" fmla="*/ 3947430 h 4250955"/>
              <a:gd name="connsiteX3" fmla="*/ 96204 w 6493601"/>
              <a:gd name="connsiteY3" fmla="*/ 2456221 h 4250955"/>
            </a:gdLst>
            <a:ahLst/>
            <a:cxnLst>
              <a:cxn ang="0">
                <a:pos x="connsiteX0" y="connsiteY0"/>
              </a:cxn>
              <a:cxn ang="0">
                <a:pos x="connsiteX1" y="connsiteY1"/>
              </a:cxn>
              <a:cxn ang="0">
                <a:pos x="connsiteX2" y="connsiteY2"/>
              </a:cxn>
              <a:cxn ang="0">
                <a:pos x="connsiteX3" y="connsiteY3"/>
              </a:cxn>
            </a:cxnLst>
            <a:rect l="l" t="t" r="r" b="b"/>
            <a:pathLst>
              <a:path w="6493601" h="4250955">
                <a:moveTo>
                  <a:pt x="96204" y="2456221"/>
                </a:moveTo>
                <a:cubicBezTo>
                  <a:pt x="-515372" y="952994"/>
                  <a:pt x="1939438" y="-121529"/>
                  <a:pt x="3211977" y="11054"/>
                </a:cubicBezTo>
                <a:cubicBezTo>
                  <a:pt x="7012563" y="291555"/>
                  <a:pt x="7403564" y="5551062"/>
                  <a:pt x="4945061" y="3947430"/>
                </a:cubicBezTo>
                <a:cubicBezTo>
                  <a:pt x="2486558" y="2343798"/>
                  <a:pt x="707780" y="3959448"/>
                  <a:pt x="96204" y="245622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3" name="Oval 17">
            <a:extLst>
              <a:ext uri="{FF2B5EF4-FFF2-40B4-BE49-F238E27FC236}">
                <a16:creationId xmlns:a16="http://schemas.microsoft.com/office/drawing/2014/main" id="{DF56657E-5220-AEB3-0A76-4BB2195FDBA3}"/>
              </a:ext>
            </a:extLst>
          </p:cNvPr>
          <p:cNvSpPr/>
          <p:nvPr userDrawn="1"/>
        </p:nvSpPr>
        <p:spPr>
          <a:xfrm rot="4082932">
            <a:off x="4351395" y="4011482"/>
            <a:ext cx="2485000" cy="1990763"/>
          </a:xfrm>
          <a:custGeom>
            <a:avLst/>
            <a:gdLst>
              <a:gd name="connsiteX0" fmla="*/ 0 w 1850045"/>
              <a:gd name="connsiteY0" fmla="*/ 925023 h 1850045"/>
              <a:gd name="connsiteX1" fmla="*/ 925023 w 1850045"/>
              <a:gd name="connsiteY1" fmla="*/ 0 h 1850045"/>
              <a:gd name="connsiteX2" fmla="*/ 1850046 w 1850045"/>
              <a:gd name="connsiteY2" fmla="*/ 925023 h 1850045"/>
              <a:gd name="connsiteX3" fmla="*/ 925023 w 1850045"/>
              <a:gd name="connsiteY3" fmla="*/ 1850046 h 1850045"/>
              <a:gd name="connsiteX4" fmla="*/ 0 w 1850045"/>
              <a:gd name="connsiteY4" fmla="*/ 925023 h 1850045"/>
              <a:gd name="connsiteX0" fmla="*/ 5 w 1850051"/>
              <a:gd name="connsiteY0" fmla="*/ 985983 h 1911006"/>
              <a:gd name="connsiteX1" fmla="*/ 914868 w 1850051"/>
              <a:gd name="connsiteY1" fmla="*/ 0 h 1911006"/>
              <a:gd name="connsiteX2" fmla="*/ 1850051 w 1850051"/>
              <a:gd name="connsiteY2" fmla="*/ 985983 h 1911006"/>
              <a:gd name="connsiteX3" fmla="*/ 925028 w 1850051"/>
              <a:gd name="connsiteY3" fmla="*/ 1911006 h 1911006"/>
              <a:gd name="connsiteX4" fmla="*/ 5 w 1850051"/>
              <a:gd name="connsiteY4" fmla="*/ 985983 h 1911006"/>
              <a:gd name="connsiteX0" fmla="*/ 4 w 1789090"/>
              <a:gd name="connsiteY0" fmla="*/ 996147 h 1911013"/>
              <a:gd name="connsiteX1" fmla="*/ 853907 w 1789090"/>
              <a:gd name="connsiteY1" fmla="*/ 4 h 1911013"/>
              <a:gd name="connsiteX2" fmla="*/ 1789090 w 1789090"/>
              <a:gd name="connsiteY2" fmla="*/ 985987 h 1911013"/>
              <a:gd name="connsiteX3" fmla="*/ 864067 w 1789090"/>
              <a:gd name="connsiteY3" fmla="*/ 1911010 h 1911013"/>
              <a:gd name="connsiteX4" fmla="*/ 4 w 1789090"/>
              <a:gd name="connsiteY4" fmla="*/ 996147 h 1911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090" h="1911013">
                <a:moveTo>
                  <a:pt x="4" y="996147"/>
                </a:moveTo>
                <a:cubicBezTo>
                  <a:pt x="-1689" y="677646"/>
                  <a:pt x="555726" y="1697"/>
                  <a:pt x="853907" y="4"/>
                </a:cubicBezTo>
                <a:cubicBezTo>
                  <a:pt x="1152088" y="-1689"/>
                  <a:pt x="1789090" y="475111"/>
                  <a:pt x="1789090" y="985987"/>
                </a:cubicBezTo>
                <a:cubicBezTo>
                  <a:pt x="1789090" y="1496863"/>
                  <a:pt x="1162248" y="1909317"/>
                  <a:pt x="864067" y="1911010"/>
                </a:cubicBezTo>
                <a:cubicBezTo>
                  <a:pt x="565886" y="1912703"/>
                  <a:pt x="1697" y="1314648"/>
                  <a:pt x="4" y="996147"/>
                </a:cubicBezTo>
                <a:close/>
              </a:path>
            </a:pathLst>
          </a:custGeom>
          <a:noFill/>
          <a:ln w="38100">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6" name="Picture Placeholder 15">
            <a:extLst>
              <a:ext uri="{FF2B5EF4-FFF2-40B4-BE49-F238E27FC236}">
                <a16:creationId xmlns:a16="http://schemas.microsoft.com/office/drawing/2014/main" id="{3778872B-E0D9-886F-4C62-41F0F10485E2}"/>
              </a:ext>
            </a:extLst>
          </p:cNvPr>
          <p:cNvSpPr>
            <a:spLocks noGrp="1"/>
          </p:cNvSpPr>
          <p:nvPr>
            <p:ph type="pic" idx="1"/>
          </p:nvPr>
        </p:nvSpPr>
        <p:spPr>
          <a:xfrm>
            <a:off x="4920213" y="1"/>
            <a:ext cx="4223788" cy="6857999"/>
          </a:xfrm>
          <a:custGeom>
            <a:avLst/>
            <a:gdLst>
              <a:gd name="connsiteX0" fmla="*/ 2590010 w 5631717"/>
              <a:gd name="connsiteY0" fmla="*/ 0 h 6857999"/>
              <a:gd name="connsiteX1" fmla="*/ 5631717 w 5631717"/>
              <a:gd name="connsiteY1" fmla="*/ 1212 h 6857999"/>
              <a:gd name="connsiteX2" fmla="*/ 5631717 w 5631717"/>
              <a:gd name="connsiteY2" fmla="*/ 6857999 h 6857999"/>
              <a:gd name="connsiteX3" fmla="*/ 0 w 5631717"/>
              <a:gd name="connsiteY3" fmla="*/ 6857999 h 6857999"/>
              <a:gd name="connsiteX4" fmla="*/ 39901 w 5631717"/>
              <a:gd name="connsiteY4" fmla="*/ 6763081 h 6857999"/>
              <a:gd name="connsiteX5" fmla="*/ 544454 w 5631717"/>
              <a:gd name="connsiteY5" fmla="*/ 5946557 h 6857999"/>
              <a:gd name="connsiteX6" fmla="*/ 672811 w 5631717"/>
              <a:gd name="connsiteY6" fmla="*/ 5765676 h 6857999"/>
              <a:gd name="connsiteX7" fmla="*/ 731342 w 5631717"/>
              <a:gd name="connsiteY7" fmla="*/ 5660755 h 6857999"/>
              <a:gd name="connsiteX8" fmla="*/ 833454 w 5631717"/>
              <a:gd name="connsiteY8" fmla="*/ 5521626 h 6857999"/>
              <a:gd name="connsiteX9" fmla="*/ 961393 w 5631717"/>
              <a:gd name="connsiteY9" fmla="*/ 5303328 h 6857999"/>
              <a:gd name="connsiteX10" fmla="*/ 1325644 w 5631717"/>
              <a:gd name="connsiteY10" fmla="*/ 4367182 h 6857999"/>
              <a:gd name="connsiteX11" fmla="*/ 1426358 w 5631717"/>
              <a:gd name="connsiteY11" fmla="*/ 3454426 h 6857999"/>
              <a:gd name="connsiteX12" fmla="*/ 1430402 w 5631717"/>
              <a:gd name="connsiteY12" fmla="*/ 3239987 h 6857999"/>
              <a:gd name="connsiteX13" fmla="*/ 1436946 w 5631717"/>
              <a:gd name="connsiteY13" fmla="*/ 3000917 h 6857999"/>
              <a:gd name="connsiteX14" fmla="*/ 2324003 w 5631717"/>
              <a:gd name="connsiteY14" fmla="*/ 456577 h 6857999"/>
              <a:gd name="connsiteX15" fmla="*/ 2565264 w 5631717"/>
              <a:gd name="connsiteY15" fmla="*/ 6604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31717" h="6857999">
                <a:moveTo>
                  <a:pt x="2590010" y="0"/>
                </a:moveTo>
                <a:lnTo>
                  <a:pt x="5631717" y="1212"/>
                </a:lnTo>
                <a:lnTo>
                  <a:pt x="5631717" y="6857999"/>
                </a:lnTo>
                <a:lnTo>
                  <a:pt x="0" y="6857999"/>
                </a:lnTo>
                <a:lnTo>
                  <a:pt x="39901" y="6763081"/>
                </a:lnTo>
                <a:cubicBezTo>
                  <a:pt x="162360" y="6499491"/>
                  <a:pt x="325518" y="6226512"/>
                  <a:pt x="544454" y="5946557"/>
                </a:cubicBezTo>
                <a:cubicBezTo>
                  <a:pt x="593106" y="5884344"/>
                  <a:pt x="635790" y="5824037"/>
                  <a:pt x="672811" y="5765676"/>
                </a:cubicBezTo>
                <a:lnTo>
                  <a:pt x="731342" y="5660755"/>
                </a:lnTo>
                <a:lnTo>
                  <a:pt x="833454" y="5521626"/>
                </a:lnTo>
                <a:cubicBezTo>
                  <a:pt x="882143" y="5448034"/>
                  <a:pt x="925029" y="5375010"/>
                  <a:pt x="961393" y="5303328"/>
                </a:cubicBezTo>
                <a:cubicBezTo>
                  <a:pt x="1133490" y="4988076"/>
                  <a:pt x="1248150" y="4675332"/>
                  <a:pt x="1325644" y="4367182"/>
                </a:cubicBezTo>
                <a:cubicBezTo>
                  <a:pt x="1403138" y="4059031"/>
                  <a:pt x="1421842" y="3824521"/>
                  <a:pt x="1426358" y="3454426"/>
                </a:cubicBezTo>
                <a:cubicBezTo>
                  <a:pt x="1427706" y="3382946"/>
                  <a:pt x="1423738" y="3433060"/>
                  <a:pt x="1430402" y="3239987"/>
                </a:cubicBezTo>
                <a:cubicBezTo>
                  <a:pt x="1436128" y="3079235"/>
                  <a:pt x="1431220" y="3071796"/>
                  <a:pt x="1436946" y="3000917"/>
                </a:cubicBezTo>
                <a:cubicBezTo>
                  <a:pt x="1482898" y="2290469"/>
                  <a:pt x="1545563" y="1451969"/>
                  <a:pt x="2324003" y="456577"/>
                </a:cubicBezTo>
                <a:cubicBezTo>
                  <a:pt x="2433469" y="316599"/>
                  <a:pt x="2512714" y="186267"/>
                  <a:pt x="2565264" y="66040"/>
                </a:cubicBezTo>
                <a:close/>
              </a:path>
            </a:pathLst>
          </a:custGeom>
          <a:solidFill>
            <a:schemeClr val="bg1">
              <a:lumMod val="95000"/>
            </a:schemeClr>
          </a:solidFill>
        </p:spPr>
        <p:txBody>
          <a:bodyPr wrap="square" anchor="ctr">
            <a:noAutofit/>
          </a:bodyPr>
          <a:lstStyle>
            <a:lvl1pPr marL="0" indent="0" algn="ctr">
              <a:buFont typeface="Arial" panose="020B0604020202020204" pitchFamily="34" charse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18" name="Text Placeholder 17">
            <a:extLst>
              <a:ext uri="{FF2B5EF4-FFF2-40B4-BE49-F238E27FC236}">
                <a16:creationId xmlns:a16="http://schemas.microsoft.com/office/drawing/2014/main" id="{C6A0D53E-8DD0-B163-9F83-6488106E01FB}"/>
              </a:ext>
            </a:extLst>
          </p:cNvPr>
          <p:cNvSpPr>
            <a:spLocks noGrp="1"/>
          </p:cNvSpPr>
          <p:nvPr>
            <p:ph type="body" sz="quarter" idx="13"/>
          </p:nvPr>
        </p:nvSpPr>
        <p:spPr>
          <a:xfrm>
            <a:off x="603504" y="2295144"/>
            <a:ext cx="3696462" cy="2651760"/>
          </a:xfrm>
        </p:spPr>
        <p:txBody>
          <a:bodyPr>
            <a:noAutofit/>
          </a:bodyPr>
          <a:lstStyle>
            <a:lvl1pPr>
              <a:spcBef>
                <a:spcPts val="750"/>
              </a:spcBef>
              <a:defRPr sz="1800"/>
            </a:lvl1pPr>
            <a:lvl2pPr>
              <a:defRPr sz="1500"/>
            </a:lvl2pPr>
            <a:lvl3pPr>
              <a:defRPr sz="135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08DA4DA3-10C7-48A6-9B15-38222B8CAD42}"/>
              </a:ext>
            </a:extLst>
          </p:cNvPr>
          <p:cNvSpPr>
            <a:spLocks noGrp="1"/>
          </p:cNvSpPr>
          <p:nvPr>
            <p:ph type="ftr" sz="quarter" idx="11"/>
          </p:nvPr>
        </p:nvSpPr>
        <p:spPr>
          <a:xfrm>
            <a:off x="294894" y="6281928"/>
            <a:ext cx="1837944" cy="274320"/>
          </a:xfrm>
          <a:prstGeom prst="rect">
            <a:avLst/>
          </a:prstGeom>
        </p:spPr>
        <p:txBody>
          <a:bodyPr>
            <a:noAutofit/>
          </a:bodyPr>
          <a:lstStyle>
            <a:lvl1pPr algn="l">
              <a:defRPr/>
            </a:lvl1pPr>
          </a:lstStyle>
          <a:p>
            <a:r>
              <a:rPr lang="en-US"/>
              <a:t>Contoso grand opening event</a:t>
            </a:r>
          </a:p>
        </p:txBody>
      </p:sp>
      <p:sp>
        <p:nvSpPr>
          <p:cNvPr id="21" name="Slide Number Placeholder 20">
            <a:extLst>
              <a:ext uri="{FF2B5EF4-FFF2-40B4-BE49-F238E27FC236}">
                <a16:creationId xmlns:a16="http://schemas.microsoft.com/office/drawing/2014/main" id="{1F08CEC9-D752-F0E2-7CED-4FCAA57C2EA9}"/>
              </a:ext>
            </a:extLst>
          </p:cNvPr>
          <p:cNvSpPr>
            <a:spLocks noGrp="1"/>
          </p:cNvSpPr>
          <p:nvPr>
            <p:ph type="sldNum" sz="quarter" idx="12"/>
          </p:nvPr>
        </p:nvSpPr>
        <p:spPr>
          <a:xfrm>
            <a:off x="8620506" y="6372410"/>
            <a:ext cx="263185" cy="338960"/>
          </a:xfrm>
          <a:custGeom>
            <a:avLst/>
            <a:gdLst>
              <a:gd name="connsiteX0" fmla="*/ 154845 w 350913"/>
              <a:gd name="connsiteY0" fmla="*/ 22 h 338960"/>
              <a:gd name="connsiteX1" fmla="*/ 340005 w 350913"/>
              <a:gd name="connsiteY1" fmla="*/ 221278 h 338960"/>
              <a:gd name="connsiteX2" fmla="*/ 10634 w 350913"/>
              <a:gd name="connsiteY2" fmla="*/ 289178 h 338960"/>
              <a:gd name="connsiteX3" fmla="*/ 119488 w 350913"/>
              <a:gd name="connsiteY3" fmla="*/ 4155 h 338960"/>
              <a:gd name="connsiteX4" fmla="*/ 154845 w 350913"/>
              <a:gd name="connsiteY4" fmla="*/ 22 h 338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13" h="338960">
                <a:moveTo>
                  <a:pt x="154845" y="22"/>
                </a:moveTo>
                <a:cubicBezTo>
                  <a:pt x="246677" y="-1293"/>
                  <a:pt x="391912" y="57780"/>
                  <a:pt x="340005" y="221278"/>
                </a:cubicBezTo>
                <a:cubicBezTo>
                  <a:pt x="280684" y="408133"/>
                  <a:pt x="47387" y="325365"/>
                  <a:pt x="10634" y="289178"/>
                </a:cubicBezTo>
                <a:cubicBezTo>
                  <a:pt x="-26119" y="252991"/>
                  <a:pt x="37818" y="24351"/>
                  <a:pt x="119488" y="4155"/>
                </a:cubicBezTo>
                <a:cubicBezTo>
                  <a:pt x="129697" y="1631"/>
                  <a:pt x="141726" y="210"/>
                  <a:pt x="154845" y="22"/>
                </a:cubicBezTo>
                <a:close/>
              </a:path>
            </a:pathLst>
          </a:custGeom>
          <a:solidFill>
            <a:schemeClr val="tx2">
              <a:lumMod val="75000"/>
              <a:lumOff val="25000"/>
            </a:schemeClr>
          </a:solidFill>
        </p:spPr>
        <p:txBody>
          <a:bodyPr wrap="square">
            <a:noAutofit/>
          </a:bodyPr>
          <a:lstStyle>
            <a:lvl1pPr algn="ctr">
              <a:defRPr>
                <a:solidFill>
                  <a:schemeClr val="bg1"/>
                </a:solidFill>
              </a:defRPr>
            </a:lvl1pPr>
          </a:lstStyle>
          <a:p>
            <a:fld id="{294A09A9-5501-47C1-A89A-A340965A2BE2}" type="slidenum">
              <a:rPr lang="en-US" smtClean="0"/>
              <a:pPr/>
              <a:t>‹#›</a:t>
            </a:fld>
            <a:endParaRPr lang="en-US"/>
          </a:p>
        </p:txBody>
      </p:sp>
    </p:spTree>
    <p:extLst>
      <p:ext uri="{BB962C8B-B14F-4D97-AF65-F5344CB8AC3E}">
        <p14:creationId xmlns:p14="http://schemas.microsoft.com/office/powerpoint/2010/main" val="266541501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E588CB2E-13B3-FCC9-7990-1475F55BD104}"/>
              </a:ext>
            </a:extLst>
          </p:cNvPr>
          <p:cNvSpPr/>
          <p:nvPr userDrawn="1"/>
        </p:nvSpPr>
        <p:spPr>
          <a:xfrm>
            <a:off x="469850" y="300377"/>
            <a:ext cx="8256881" cy="6544064"/>
          </a:xfrm>
          <a:custGeom>
            <a:avLst/>
            <a:gdLst>
              <a:gd name="connsiteX0" fmla="*/ 5671719 w 11009175"/>
              <a:gd name="connsiteY0" fmla="*/ 133 h 6544064"/>
              <a:gd name="connsiteX1" fmla="*/ 8888406 w 11009175"/>
              <a:gd name="connsiteY1" fmla="*/ 5225085 h 6544064"/>
              <a:gd name="connsiteX2" fmla="*/ 579340 w 11009175"/>
              <a:gd name="connsiteY2" fmla="*/ 5973973 h 6544064"/>
              <a:gd name="connsiteX3" fmla="*/ 3799737 w 11009175"/>
              <a:gd name="connsiteY3" fmla="*/ 312285 h 6544064"/>
              <a:gd name="connsiteX4" fmla="*/ 5671719 w 11009175"/>
              <a:gd name="connsiteY4" fmla="*/ 133 h 6544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09175" h="6544064">
                <a:moveTo>
                  <a:pt x="5671719" y="133"/>
                </a:moveTo>
                <a:cubicBezTo>
                  <a:pt x="10502895" y="-32605"/>
                  <a:pt x="13110484" y="6035901"/>
                  <a:pt x="8888406" y="5225085"/>
                </a:cubicBezTo>
                <a:cubicBezTo>
                  <a:pt x="4147828" y="4314695"/>
                  <a:pt x="2446109" y="7881365"/>
                  <a:pt x="579340" y="5973973"/>
                </a:cubicBezTo>
                <a:cubicBezTo>
                  <a:pt x="-1287429" y="4066581"/>
                  <a:pt x="1780200" y="902713"/>
                  <a:pt x="3799737" y="312285"/>
                </a:cubicBezTo>
                <a:cubicBezTo>
                  <a:pt x="4451579" y="100191"/>
                  <a:pt x="5078417" y="4154"/>
                  <a:pt x="5671719" y="133"/>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5" name="Freeform: Shape 14">
            <a:extLst>
              <a:ext uri="{FF2B5EF4-FFF2-40B4-BE49-F238E27FC236}">
                <a16:creationId xmlns:a16="http://schemas.microsoft.com/office/drawing/2014/main" id="{3C9A7D6B-CD07-F18A-EB90-872AF7151716}"/>
              </a:ext>
            </a:extLst>
          </p:cNvPr>
          <p:cNvSpPr/>
          <p:nvPr userDrawn="1"/>
        </p:nvSpPr>
        <p:spPr>
          <a:xfrm>
            <a:off x="6160342" y="0"/>
            <a:ext cx="2617796" cy="2990132"/>
          </a:xfrm>
          <a:custGeom>
            <a:avLst/>
            <a:gdLst>
              <a:gd name="connsiteX0" fmla="*/ 9820 w 3490395"/>
              <a:gd name="connsiteY0" fmla="*/ 0 h 2990132"/>
              <a:gd name="connsiteX1" fmla="*/ 3326144 w 3490395"/>
              <a:gd name="connsiteY1" fmla="*/ 0 h 2990132"/>
              <a:gd name="connsiteX2" fmla="*/ 3355148 w 3490395"/>
              <a:gd name="connsiteY2" fmla="*/ 31976 h 2990132"/>
              <a:gd name="connsiteX3" fmla="*/ 3469206 w 3490395"/>
              <a:gd name="connsiteY3" fmla="*/ 251990 h 2990132"/>
              <a:gd name="connsiteX4" fmla="*/ 1272961 w 3490395"/>
              <a:gd name="connsiteY4" fmla="*/ 2945433 h 2990132"/>
              <a:gd name="connsiteX5" fmla="*/ 84 w 3490395"/>
              <a:gd name="connsiteY5" fmla="*/ 261380 h 299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90395" h="2990132">
                <a:moveTo>
                  <a:pt x="9820" y="0"/>
                </a:moveTo>
                <a:lnTo>
                  <a:pt x="3326144" y="0"/>
                </a:lnTo>
                <a:lnTo>
                  <a:pt x="3355148" y="31976"/>
                </a:lnTo>
                <a:cubicBezTo>
                  <a:pt x="3412900" y="103082"/>
                  <a:pt x="3452270" y="176654"/>
                  <a:pt x="3469206" y="251990"/>
                </a:cubicBezTo>
                <a:cubicBezTo>
                  <a:pt x="3649852" y="1055568"/>
                  <a:pt x="2654828" y="3336449"/>
                  <a:pt x="1272961" y="2945433"/>
                </a:cubicBezTo>
                <a:cubicBezTo>
                  <a:pt x="322928" y="2676609"/>
                  <a:pt x="-6036" y="1263927"/>
                  <a:pt x="84" y="26138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7" name="Freeform: Shape 16">
            <a:extLst>
              <a:ext uri="{FF2B5EF4-FFF2-40B4-BE49-F238E27FC236}">
                <a16:creationId xmlns:a16="http://schemas.microsoft.com/office/drawing/2014/main" id="{ACAF09C9-D54E-7785-7B9A-84D85BBD0F35}"/>
              </a:ext>
            </a:extLst>
          </p:cNvPr>
          <p:cNvSpPr/>
          <p:nvPr userDrawn="1"/>
        </p:nvSpPr>
        <p:spPr>
          <a:xfrm>
            <a:off x="5339073" y="-68389"/>
            <a:ext cx="1613743" cy="1747175"/>
          </a:xfrm>
          <a:custGeom>
            <a:avLst/>
            <a:gdLst>
              <a:gd name="connsiteX0" fmla="*/ 398864 w 2146359"/>
              <a:gd name="connsiteY0" fmla="*/ 0 h 1800706"/>
              <a:gd name="connsiteX1" fmla="*/ 1772637 w 2146359"/>
              <a:gd name="connsiteY1" fmla="*/ 0 h 1800706"/>
              <a:gd name="connsiteX2" fmla="*/ 1874163 w 2146359"/>
              <a:gd name="connsiteY2" fmla="*/ 53531 h 1800706"/>
              <a:gd name="connsiteX3" fmla="*/ 2110427 w 2146359"/>
              <a:gd name="connsiteY3" fmla="*/ 287988 h 1800706"/>
              <a:gd name="connsiteX4" fmla="*/ 1444651 w 2146359"/>
              <a:gd name="connsiteY4" fmla="*/ 1744615 h 1800706"/>
              <a:gd name="connsiteX5" fmla="*/ 25986 w 2146359"/>
              <a:gd name="connsiteY5" fmla="*/ 1140999 h 1800706"/>
              <a:gd name="connsiteX6" fmla="*/ 383281 w 2146359"/>
              <a:gd name="connsiteY6" fmla="*/ 18248 h 1800706"/>
              <a:gd name="connsiteX0" fmla="*/ 1772637 w 2146359"/>
              <a:gd name="connsiteY0" fmla="*/ 0 h 1800706"/>
              <a:gd name="connsiteX1" fmla="*/ 1874163 w 2146359"/>
              <a:gd name="connsiteY1" fmla="*/ 53531 h 1800706"/>
              <a:gd name="connsiteX2" fmla="*/ 2110427 w 2146359"/>
              <a:gd name="connsiteY2" fmla="*/ 287988 h 1800706"/>
              <a:gd name="connsiteX3" fmla="*/ 1444651 w 2146359"/>
              <a:gd name="connsiteY3" fmla="*/ 1744615 h 1800706"/>
              <a:gd name="connsiteX4" fmla="*/ 25986 w 2146359"/>
              <a:gd name="connsiteY4" fmla="*/ 1140999 h 1800706"/>
              <a:gd name="connsiteX5" fmla="*/ 383281 w 2146359"/>
              <a:gd name="connsiteY5" fmla="*/ 18248 h 1800706"/>
              <a:gd name="connsiteX6" fmla="*/ 398864 w 2146359"/>
              <a:gd name="connsiteY6" fmla="*/ 0 h 1800706"/>
              <a:gd name="connsiteX7" fmla="*/ 1864077 w 2146359"/>
              <a:gd name="connsiteY7" fmla="*/ 91440 h 1800706"/>
              <a:gd name="connsiteX0" fmla="*/ 1772637 w 2146359"/>
              <a:gd name="connsiteY0" fmla="*/ 0 h 1800706"/>
              <a:gd name="connsiteX1" fmla="*/ 1874163 w 2146359"/>
              <a:gd name="connsiteY1" fmla="*/ 53531 h 1800706"/>
              <a:gd name="connsiteX2" fmla="*/ 2110427 w 2146359"/>
              <a:gd name="connsiteY2" fmla="*/ 287988 h 1800706"/>
              <a:gd name="connsiteX3" fmla="*/ 1444651 w 2146359"/>
              <a:gd name="connsiteY3" fmla="*/ 1744615 h 1800706"/>
              <a:gd name="connsiteX4" fmla="*/ 25986 w 2146359"/>
              <a:gd name="connsiteY4" fmla="*/ 1140999 h 1800706"/>
              <a:gd name="connsiteX5" fmla="*/ 383281 w 2146359"/>
              <a:gd name="connsiteY5" fmla="*/ 18248 h 1800706"/>
              <a:gd name="connsiteX6" fmla="*/ 398864 w 2146359"/>
              <a:gd name="connsiteY6" fmla="*/ 0 h 1800706"/>
              <a:gd name="connsiteX0" fmla="*/ 1772637 w 2146359"/>
              <a:gd name="connsiteY0" fmla="*/ 0 h 1800706"/>
              <a:gd name="connsiteX1" fmla="*/ 1874163 w 2146359"/>
              <a:gd name="connsiteY1" fmla="*/ 53531 h 1800706"/>
              <a:gd name="connsiteX2" fmla="*/ 2110427 w 2146359"/>
              <a:gd name="connsiteY2" fmla="*/ 287988 h 1800706"/>
              <a:gd name="connsiteX3" fmla="*/ 1444651 w 2146359"/>
              <a:gd name="connsiteY3" fmla="*/ 1744615 h 1800706"/>
              <a:gd name="connsiteX4" fmla="*/ 25986 w 2146359"/>
              <a:gd name="connsiteY4" fmla="*/ 1140999 h 1800706"/>
              <a:gd name="connsiteX5" fmla="*/ 383281 w 2146359"/>
              <a:gd name="connsiteY5" fmla="*/ 18248 h 1800706"/>
              <a:gd name="connsiteX0" fmla="*/ 1777935 w 2151657"/>
              <a:gd name="connsiteY0" fmla="*/ 0 h 1800706"/>
              <a:gd name="connsiteX1" fmla="*/ 1879461 w 2151657"/>
              <a:gd name="connsiteY1" fmla="*/ 53531 h 1800706"/>
              <a:gd name="connsiteX2" fmla="*/ 2115725 w 2151657"/>
              <a:gd name="connsiteY2" fmla="*/ 287988 h 1800706"/>
              <a:gd name="connsiteX3" fmla="*/ 1449949 w 2151657"/>
              <a:gd name="connsiteY3" fmla="*/ 1744615 h 1800706"/>
              <a:gd name="connsiteX4" fmla="*/ 31284 w 2151657"/>
              <a:gd name="connsiteY4" fmla="*/ 1140999 h 1800706"/>
              <a:gd name="connsiteX5" fmla="*/ 335239 w 2151657"/>
              <a:gd name="connsiteY5" fmla="*/ 94448 h 1800706"/>
              <a:gd name="connsiteX0" fmla="*/ 1879461 w 2151657"/>
              <a:gd name="connsiteY0" fmla="*/ 0 h 1747175"/>
              <a:gd name="connsiteX1" fmla="*/ 2115725 w 2151657"/>
              <a:gd name="connsiteY1" fmla="*/ 234457 h 1747175"/>
              <a:gd name="connsiteX2" fmla="*/ 1449949 w 2151657"/>
              <a:gd name="connsiteY2" fmla="*/ 1691084 h 1747175"/>
              <a:gd name="connsiteX3" fmla="*/ 31284 w 2151657"/>
              <a:gd name="connsiteY3" fmla="*/ 1087468 h 1747175"/>
              <a:gd name="connsiteX4" fmla="*/ 335239 w 2151657"/>
              <a:gd name="connsiteY4" fmla="*/ 40917 h 174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1657" h="1747175">
                <a:moveTo>
                  <a:pt x="1879461" y="0"/>
                </a:moveTo>
                <a:cubicBezTo>
                  <a:pt x="1995915" y="72714"/>
                  <a:pt x="2082421" y="153158"/>
                  <a:pt x="2115725" y="234457"/>
                </a:cubicBezTo>
                <a:cubicBezTo>
                  <a:pt x="2248941" y="559652"/>
                  <a:pt x="2008387" y="1466014"/>
                  <a:pt x="1449949" y="1691084"/>
                </a:cubicBezTo>
                <a:cubicBezTo>
                  <a:pt x="891511" y="1916153"/>
                  <a:pt x="164500" y="1412663"/>
                  <a:pt x="31284" y="1087468"/>
                </a:cubicBezTo>
                <a:cubicBezTo>
                  <a:pt x="-68628" y="843572"/>
                  <a:pt x="80965" y="363691"/>
                  <a:pt x="335239" y="40917"/>
                </a:cubicBezTo>
              </a:path>
            </a:pathLst>
          </a:custGeom>
          <a:noFill/>
          <a:ln w="38100">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 name="Title 1">
            <a:extLst>
              <a:ext uri="{FF2B5EF4-FFF2-40B4-BE49-F238E27FC236}">
                <a16:creationId xmlns:a16="http://schemas.microsoft.com/office/drawing/2014/main" id="{9E18BC3D-3493-89F4-9FDC-7C5F1C93D5A9}"/>
              </a:ext>
            </a:extLst>
          </p:cNvPr>
          <p:cNvSpPr>
            <a:spLocks noGrp="1"/>
          </p:cNvSpPr>
          <p:nvPr>
            <p:ph type="title"/>
          </p:nvPr>
        </p:nvSpPr>
        <p:spPr>
          <a:xfrm>
            <a:off x="1714500" y="1856232"/>
            <a:ext cx="5719572" cy="3136392"/>
          </a:xfrm>
        </p:spPr>
        <p:txBody>
          <a:bodyPr anchor="t">
            <a:noAutofit/>
          </a:bodyPr>
          <a:lstStyle>
            <a:lvl1pPr algn="ctr">
              <a:lnSpc>
                <a:spcPct val="100000"/>
              </a:lnSpc>
              <a:defRPr sz="4950">
                <a:solidFill>
                  <a:schemeClr val="bg1"/>
                </a:solidFill>
              </a:defRPr>
            </a:lvl1pPr>
          </a:lstStyle>
          <a:p>
            <a:r>
              <a:rPr lang="en-US"/>
              <a:t>Click to edit Master title style</a:t>
            </a:r>
          </a:p>
        </p:txBody>
      </p:sp>
      <p:sp>
        <p:nvSpPr>
          <p:cNvPr id="20" name="Text Placeholder 19">
            <a:extLst>
              <a:ext uri="{FF2B5EF4-FFF2-40B4-BE49-F238E27FC236}">
                <a16:creationId xmlns:a16="http://schemas.microsoft.com/office/drawing/2014/main" id="{9C6ED92C-F581-58A0-A69A-ECEED1CAFBD4}"/>
              </a:ext>
            </a:extLst>
          </p:cNvPr>
          <p:cNvSpPr>
            <a:spLocks noGrp="1"/>
          </p:cNvSpPr>
          <p:nvPr>
            <p:ph type="body" sz="quarter" idx="10"/>
          </p:nvPr>
        </p:nvSpPr>
        <p:spPr>
          <a:xfrm>
            <a:off x="3154680" y="5010912"/>
            <a:ext cx="2832354" cy="466344"/>
          </a:xfrm>
        </p:spPr>
        <p:txBody>
          <a:bodyPr>
            <a:noAutofit/>
          </a:bodyPr>
          <a:lstStyle>
            <a:lvl1pPr marL="0" indent="0" algn="ctr">
              <a:lnSpc>
                <a:spcPct val="100000"/>
              </a:lnSpc>
              <a:buNone/>
              <a:defRPr sz="1800">
                <a:solidFill>
                  <a:schemeClr val="bg1"/>
                </a:solidFill>
              </a:defRPr>
            </a:lvl1pPr>
          </a:lstStyle>
          <a:p>
            <a:pPr lvl="0"/>
            <a:r>
              <a:rPr lang="en-US"/>
              <a:t>Click to edit Master text styles</a:t>
            </a:r>
          </a:p>
        </p:txBody>
      </p:sp>
      <p:sp>
        <p:nvSpPr>
          <p:cNvPr id="22" name="Text Placeholder 21">
            <a:extLst>
              <a:ext uri="{FF2B5EF4-FFF2-40B4-BE49-F238E27FC236}">
                <a16:creationId xmlns:a16="http://schemas.microsoft.com/office/drawing/2014/main" id="{14B0568A-52A9-D3B6-8353-E255CA106A82}"/>
              </a:ext>
            </a:extLst>
          </p:cNvPr>
          <p:cNvSpPr>
            <a:spLocks noGrp="1"/>
          </p:cNvSpPr>
          <p:nvPr>
            <p:ph type="body" sz="quarter" idx="11" hasCustomPrompt="1"/>
          </p:nvPr>
        </p:nvSpPr>
        <p:spPr>
          <a:xfrm>
            <a:off x="953262" y="640080"/>
            <a:ext cx="548640" cy="3172968"/>
          </a:xfrm>
        </p:spPr>
        <p:txBody>
          <a:bodyPr>
            <a:noAutofit/>
          </a:bodyPr>
          <a:lstStyle>
            <a:lvl1pPr marL="0" indent="0" algn="ctr">
              <a:lnSpc>
                <a:spcPct val="100000"/>
              </a:lnSpc>
              <a:buNone/>
              <a:defRPr sz="15000">
                <a:solidFill>
                  <a:schemeClr val="accent6"/>
                </a:solidFill>
                <a:latin typeface="Source Sans Pro" panose="020B0503030403020204" pitchFamily="34" charset="0"/>
                <a:ea typeface="Source Sans Pro" panose="020B0503030403020204" pitchFamily="34" charset="0"/>
              </a:defRPr>
            </a:lvl1pPr>
          </a:lstStyle>
          <a:p>
            <a:pPr lvl="0"/>
            <a:r>
              <a:rPr lang="en-US"/>
              <a:t>“</a:t>
            </a:r>
          </a:p>
        </p:txBody>
      </p:sp>
      <p:sp>
        <p:nvSpPr>
          <p:cNvPr id="23" name="Text Placeholder 21">
            <a:extLst>
              <a:ext uri="{FF2B5EF4-FFF2-40B4-BE49-F238E27FC236}">
                <a16:creationId xmlns:a16="http://schemas.microsoft.com/office/drawing/2014/main" id="{31C009BC-A885-8FBD-5A6F-3ECD72A5A867}"/>
              </a:ext>
            </a:extLst>
          </p:cNvPr>
          <p:cNvSpPr>
            <a:spLocks noGrp="1"/>
          </p:cNvSpPr>
          <p:nvPr>
            <p:ph type="body" sz="quarter" idx="12" hasCustomPrompt="1"/>
          </p:nvPr>
        </p:nvSpPr>
        <p:spPr>
          <a:xfrm>
            <a:off x="7386066" y="4078224"/>
            <a:ext cx="548640" cy="3172968"/>
          </a:xfrm>
        </p:spPr>
        <p:txBody>
          <a:bodyPr>
            <a:noAutofit/>
          </a:bodyPr>
          <a:lstStyle>
            <a:lvl1pPr marL="0" indent="0" algn="ctr">
              <a:lnSpc>
                <a:spcPct val="100000"/>
              </a:lnSpc>
              <a:buNone/>
              <a:defRPr sz="15000">
                <a:solidFill>
                  <a:schemeClr val="bg1"/>
                </a:solidFill>
                <a:latin typeface="Source Sans Pro" panose="020B0503030403020204" pitchFamily="34" charset="0"/>
                <a:ea typeface="Source Sans Pro" panose="020B0503030403020204" pitchFamily="34" charset="0"/>
              </a:defRPr>
            </a:lvl1pPr>
          </a:lstStyle>
          <a:p>
            <a:pPr lvl="0"/>
            <a:r>
              <a:rPr lang="en-US"/>
              <a:t>”</a:t>
            </a:r>
          </a:p>
        </p:txBody>
      </p:sp>
    </p:spTree>
    <p:extLst>
      <p:ext uri="{BB962C8B-B14F-4D97-AF65-F5344CB8AC3E}">
        <p14:creationId xmlns:p14="http://schemas.microsoft.com/office/powerpoint/2010/main" val="356010238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1140E-18C4-7CA4-FB54-99FF930597C2}"/>
              </a:ext>
            </a:extLst>
          </p:cNvPr>
          <p:cNvSpPr>
            <a:spLocks noGrp="1"/>
          </p:cNvSpPr>
          <p:nvPr>
            <p:ph type="title"/>
          </p:nvPr>
        </p:nvSpPr>
        <p:spPr>
          <a:xfrm>
            <a:off x="285750" y="381000"/>
            <a:ext cx="8572500" cy="1325563"/>
          </a:xfrm>
        </p:spPr>
        <p:txBody>
          <a:bodyPr anchor="b">
            <a:noAutofit/>
          </a:bodyPr>
          <a:lstStyle>
            <a:lvl1pPr algn="ctr">
              <a:lnSpc>
                <a:spcPct val="170000"/>
              </a:lnSpc>
              <a:defRPr sz="3600"/>
            </a:lvl1pPr>
          </a:lstStyle>
          <a:p>
            <a:r>
              <a:rPr lang="en-US"/>
              <a:t>Click to edit Master title style</a:t>
            </a:r>
          </a:p>
        </p:txBody>
      </p:sp>
      <p:sp>
        <p:nvSpPr>
          <p:cNvPr id="7" name="Content Placeholder 6">
            <a:extLst>
              <a:ext uri="{FF2B5EF4-FFF2-40B4-BE49-F238E27FC236}">
                <a16:creationId xmlns:a16="http://schemas.microsoft.com/office/drawing/2014/main" id="{2ADC6C63-11C9-0266-F010-C443878431A8}"/>
              </a:ext>
            </a:extLst>
          </p:cNvPr>
          <p:cNvSpPr>
            <a:spLocks noGrp="1"/>
          </p:cNvSpPr>
          <p:nvPr>
            <p:ph sz="quarter" idx="13"/>
          </p:nvPr>
        </p:nvSpPr>
        <p:spPr>
          <a:xfrm>
            <a:off x="680085" y="1837944"/>
            <a:ext cx="7783830" cy="390448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Footer Placeholder 5">
            <a:extLst>
              <a:ext uri="{FF2B5EF4-FFF2-40B4-BE49-F238E27FC236}">
                <a16:creationId xmlns:a16="http://schemas.microsoft.com/office/drawing/2014/main" id="{A07C25B9-D554-8008-6E22-6F71F9C5109F}"/>
              </a:ext>
            </a:extLst>
          </p:cNvPr>
          <p:cNvSpPr>
            <a:spLocks noGrp="1"/>
          </p:cNvSpPr>
          <p:nvPr>
            <p:ph type="ftr" sz="quarter" idx="11"/>
          </p:nvPr>
        </p:nvSpPr>
        <p:spPr>
          <a:xfrm>
            <a:off x="294894" y="6281928"/>
            <a:ext cx="1837944" cy="274320"/>
          </a:xfrm>
          <a:prstGeom prst="rect">
            <a:avLst/>
          </a:prstGeom>
        </p:spPr>
        <p:txBody>
          <a:bodyPr>
            <a:noAutofit/>
          </a:bodyPr>
          <a:lstStyle>
            <a:lvl1pPr algn="l">
              <a:defRPr/>
            </a:lvl1pPr>
          </a:lstStyle>
          <a:p>
            <a:r>
              <a:rPr lang="en-US"/>
              <a:t>Contoso grand opening event</a:t>
            </a:r>
          </a:p>
        </p:txBody>
      </p:sp>
      <p:sp>
        <p:nvSpPr>
          <p:cNvPr id="3" name="Slide Number Placeholder 2">
            <a:extLst>
              <a:ext uri="{FF2B5EF4-FFF2-40B4-BE49-F238E27FC236}">
                <a16:creationId xmlns:a16="http://schemas.microsoft.com/office/drawing/2014/main" id="{3DB6A7EF-9CEC-E8AC-0301-87D7BCBF2492}"/>
              </a:ext>
            </a:extLst>
          </p:cNvPr>
          <p:cNvSpPr>
            <a:spLocks noGrp="1"/>
          </p:cNvSpPr>
          <p:nvPr>
            <p:ph type="sldNum" sz="quarter" idx="12"/>
          </p:nvPr>
        </p:nvSpPr>
        <p:spPr>
          <a:xfrm>
            <a:off x="8603799" y="6231541"/>
            <a:ext cx="283182" cy="346860"/>
          </a:xfrm>
          <a:custGeom>
            <a:avLst/>
            <a:gdLst>
              <a:gd name="connsiteX0" fmla="*/ 207164 w 377576"/>
              <a:gd name="connsiteY0" fmla="*/ 451 h 346860"/>
              <a:gd name="connsiteX1" fmla="*/ 333607 w 377576"/>
              <a:gd name="connsiteY1" fmla="*/ 282909 h 346860"/>
              <a:gd name="connsiteX2" fmla="*/ 2098 w 377576"/>
              <a:gd name="connsiteY2" fmla="*/ 226361 h 346860"/>
              <a:gd name="connsiteX3" fmla="*/ 207164 w 377576"/>
              <a:gd name="connsiteY3" fmla="*/ 451 h 346860"/>
            </a:gdLst>
            <a:ahLst/>
            <a:cxnLst>
              <a:cxn ang="0">
                <a:pos x="connsiteX0" y="connsiteY0"/>
              </a:cxn>
              <a:cxn ang="0">
                <a:pos x="connsiteX1" y="connsiteY1"/>
              </a:cxn>
              <a:cxn ang="0">
                <a:pos x="connsiteX2" y="connsiteY2"/>
              </a:cxn>
              <a:cxn ang="0">
                <a:pos x="connsiteX3" y="connsiteY3"/>
              </a:cxn>
            </a:cxnLst>
            <a:rect l="l" t="t" r="r" b="b"/>
            <a:pathLst>
              <a:path w="377576" h="346860">
                <a:moveTo>
                  <a:pt x="207164" y="451"/>
                </a:moveTo>
                <a:cubicBezTo>
                  <a:pt x="290586" y="11344"/>
                  <a:pt x="456827" y="130428"/>
                  <a:pt x="333607" y="282909"/>
                </a:cubicBezTo>
                <a:cubicBezTo>
                  <a:pt x="210386" y="435390"/>
                  <a:pt x="23172" y="273437"/>
                  <a:pt x="2098" y="226361"/>
                </a:cubicBezTo>
                <a:cubicBezTo>
                  <a:pt x="-18976" y="179285"/>
                  <a:pt x="123742" y="-10441"/>
                  <a:pt x="207164" y="451"/>
                </a:cubicBezTo>
                <a:close/>
              </a:path>
            </a:pathLst>
          </a:custGeom>
          <a:ln>
            <a:solidFill>
              <a:schemeClr val="accent4"/>
            </a:solidFill>
          </a:ln>
        </p:spPr>
        <p:txBody>
          <a:bodyPr wrap="square">
            <a:noAutofit/>
          </a:bodyPr>
          <a:lstStyle>
            <a:lvl1pPr algn="ctr">
              <a:defRPr/>
            </a:lvl1pPr>
          </a:lstStyle>
          <a:p>
            <a:fld id="{294A09A9-5501-47C1-A89A-A340965A2BE2}" type="slidenum">
              <a:rPr lang="en-US" smtClean="0"/>
              <a:pPr/>
              <a:t>‹#›</a:t>
            </a:fld>
            <a:endParaRPr lang="en-US"/>
          </a:p>
        </p:txBody>
      </p:sp>
    </p:spTree>
    <p:extLst>
      <p:ext uri="{BB962C8B-B14F-4D97-AF65-F5344CB8AC3E}">
        <p14:creationId xmlns:p14="http://schemas.microsoft.com/office/powerpoint/2010/main" val="249986387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7" name="Picture Placeholder 26">
            <a:extLst>
              <a:ext uri="{FF2B5EF4-FFF2-40B4-BE49-F238E27FC236}">
                <a16:creationId xmlns:a16="http://schemas.microsoft.com/office/drawing/2014/main" id="{3274A4B1-8B4D-AD8C-A527-4D590BB6C443}"/>
              </a:ext>
            </a:extLst>
          </p:cNvPr>
          <p:cNvSpPr>
            <a:spLocks noGrp="1"/>
          </p:cNvSpPr>
          <p:nvPr>
            <p:ph type="pic" sz="quarter" idx="13"/>
          </p:nvPr>
        </p:nvSpPr>
        <p:spPr>
          <a:xfrm>
            <a:off x="785524" y="2763552"/>
            <a:ext cx="1033544" cy="1205624"/>
          </a:xfrm>
          <a:custGeom>
            <a:avLst/>
            <a:gdLst>
              <a:gd name="connsiteX0" fmla="*/ 781068 w 1378059"/>
              <a:gd name="connsiteY0" fmla="*/ 194 h 1205624"/>
              <a:gd name="connsiteX1" fmla="*/ 836547 w 1378059"/>
              <a:gd name="connsiteY1" fmla="*/ 9202 h 1205624"/>
              <a:gd name="connsiteX2" fmla="*/ 1189933 w 1378059"/>
              <a:gd name="connsiteY2" fmla="*/ 946102 h 1205624"/>
              <a:gd name="connsiteX3" fmla="*/ 12192 w 1378059"/>
              <a:gd name="connsiteY3" fmla="*/ 824743 h 1205624"/>
              <a:gd name="connsiteX4" fmla="*/ 781068 w 1378059"/>
              <a:gd name="connsiteY4" fmla="*/ 194 h 12056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8059" h="1205624">
                <a:moveTo>
                  <a:pt x="781068" y="194"/>
                </a:moveTo>
                <a:cubicBezTo>
                  <a:pt x="800887" y="945"/>
                  <a:pt x="819475" y="3886"/>
                  <a:pt x="836547" y="9202"/>
                </a:cubicBezTo>
                <a:cubicBezTo>
                  <a:pt x="1109701" y="94257"/>
                  <a:pt x="1670965" y="498604"/>
                  <a:pt x="1189933" y="946102"/>
                </a:cubicBezTo>
                <a:cubicBezTo>
                  <a:pt x="708900" y="1393599"/>
                  <a:pt x="122014" y="1202490"/>
                  <a:pt x="12192" y="824743"/>
                </a:cubicBezTo>
                <a:cubicBezTo>
                  <a:pt x="-90767" y="470605"/>
                  <a:pt x="483776" y="-11064"/>
                  <a:pt x="781068" y="194"/>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marL="0" indent="0">
              <a:buNone/>
              <a:defRPr lang="en-US" sz="825">
                <a:solidFill>
                  <a:schemeClr val="lt1"/>
                </a:solidFill>
              </a:defRPr>
            </a:lvl1pPr>
          </a:lstStyle>
          <a:p>
            <a:pPr marL="0" lvl="0" algn="ctr"/>
            <a:r>
              <a:rPr lang="en-US"/>
              <a:t>Click icon to add picture</a:t>
            </a:r>
          </a:p>
        </p:txBody>
      </p:sp>
      <p:sp>
        <p:nvSpPr>
          <p:cNvPr id="26" name="Picture Placeholder 25">
            <a:extLst>
              <a:ext uri="{FF2B5EF4-FFF2-40B4-BE49-F238E27FC236}">
                <a16:creationId xmlns:a16="http://schemas.microsoft.com/office/drawing/2014/main" id="{1810C904-F55B-7A7C-CFEE-F892A0E01DE9}"/>
              </a:ext>
            </a:extLst>
          </p:cNvPr>
          <p:cNvSpPr>
            <a:spLocks noGrp="1"/>
          </p:cNvSpPr>
          <p:nvPr>
            <p:ph type="pic" sz="quarter" idx="14"/>
          </p:nvPr>
        </p:nvSpPr>
        <p:spPr>
          <a:xfrm>
            <a:off x="2499562" y="2785437"/>
            <a:ext cx="866609" cy="1201673"/>
          </a:xfrm>
          <a:custGeom>
            <a:avLst/>
            <a:gdLst>
              <a:gd name="connsiteX0" fmla="*/ 600837 w 1155478"/>
              <a:gd name="connsiteY0" fmla="*/ 0 h 1201673"/>
              <a:gd name="connsiteX1" fmla="*/ 1155478 w 1155478"/>
              <a:gd name="connsiteY1" fmla="*/ 600837 h 1201673"/>
              <a:gd name="connsiteX2" fmla="*/ 600837 w 1155478"/>
              <a:gd name="connsiteY2" fmla="*/ 1201673 h 1201673"/>
              <a:gd name="connsiteX3" fmla="*/ 0 w 1155478"/>
              <a:gd name="connsiteY3" fmla="*/ 600837 h 1201673"/>
              <a:gd name="connsiteX4" fmla="*/ 600837 w 1155478"/>
              <a:gd name="connsiteY4" fmla="*/ 0 h 1201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5478" h="1201673">
                <a:moveTo>
                  <a:pt x="600837" y="0"/>
                </a:moveTo>
                <a:cubicBezTo>
                  <a:pt x="793417" y="0"/>
                  <a:pt x="1155478" y="269004"/>
                  <a:pt x="1155478" y="600837"/>
                </a:cubicBezTo>
                <a:cubicBezTo>
                  <a:pt x="1155478" y="932669"/>
                  <a:pt x="793417" y="1201673"/>
                  <a:pt x="600837" y="1201673"/>
                </a:cubicBezTo>
                <a:cubicBezTo>
                  <a:pt x="408257" y="1201673"/>
                  <a:pt x="0" y="1018460"/>
                  <a:pt x="0" y="600837"/>
                </a:cubicBezTo>
                <a:cubicBezTo>
                  <a:pt x="0" y="183213"/>
                  <a:pt x="408257" y="0"/>
                  <a:pt x="600837"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marL="0" indent="0">
              <a:buNone/>
              <a:defRPr lang="en-US" sz="825">
                <a:solidFill>
                  <a:schemeClr val="lt1"/>
                </a:solidFill>
              </a:defRPr>
            </a:lvl1pPr>
          </a:lstStyle>
          <a:p>
            <a:pPr marL="0" lvl="0" algn="ctr"/>
            <a:r>
              <a:rPr lang="en-US"/>
              <a:t>Click icon to add picture</a:t>
            </a:r>
          </a:p>
        </p:txBody>
      </p:sp>
      <p:sp>
        <p:nvSpPr>
          <p:cNvPr id="25" name="Picture Placeholder 24">
            <a:extLst>
              <a:ext uri="{FF2B5EF4-FFF2-40B4-BE49-F238E27FC236}">
                <a16:creationId xmlns:a16="http://schemas.microsoft.com/office/drawing/2014/main" id="{C77AEB22-020B-F6CE-3C50-669489A38A50}"/>
              </a:ext>
            </a:extLst>
          </p:cNvPr>
          <p:cNvSpPr>
            <a:spLocks noGrp="1"/>
          </p:cNvSpPr>
          <p:nvPr>
            <p:ph type="pic" sz="quarter" idx="15"/>
          </p:nvPr>
        </p:nvSpPr>
        <p:spPr>
          <a:xfrm>
            <a:off x="4101830" y="2816136"/>
            <a:ext cx="948090" cy="1117296"/>
          </a:xfrm>
          <a:custGeom>
            <a:avLst/>
            <a:gdLst>
              <a:gd name="connsiteX0" fmla="*/ 671182 w 1264120"/>
              <a:gd name="connsiteY0" fmla="*/ 0 h 1117296"/>
              <a:gd name="connsiteX1" fmla="*/ 1264120 w 1264120"/>
              <a:gd name="connsiteY1" fmla="*/ 568924 h 1117296"/>
              <a:gd name="connsiteX2" fmla="*/ 677694 w 1264120"/>
              <a:gd name="connsiteY2" fmla="*/ 1117296 h 1117296"/>
              <a:gd name="connsiteX3" fmla="*/ 92 w 1264120"/>
              <a:gd name="connsiteY3" fmla="*/ 568924 h 1117296"/>
              <a:gd name="connsiteX4" fmla="*/ 671182 w 1264120"/>
              <a:gd name="connsiteY4" fmla="*/ 0 h 11172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4120" h="1117296">
                <a:moveTo>
                  <a:pt x="671182" y="0"/>
                </a:moveTo>
                <a:cubicBezTo>
                  <a:pt x="881853" y="0"/>
                  <a:pt x="1264120" y="224448"/>
                  <a:pt x="1264120" y="568924"/>
                </a:cubicBezTo>
                <a:cubicBezTo>
                  <a:pt x="1264120" y="913401"/>
                  <a:pt x="888365" y="1117296"/>
                  <a:pt x="677694" y="1117296"/>
                </a:cubicBezTo>
                <a:cubicBezTo>
                  <a:pt x="467023" y="1117296"/>
                  <a:pt x="7690" y="953812"/>
                  <a:pt x="92" y="568924"/>
                </a:cubicBezTo>
                <a:cubicBezTo>
                  <a:pt x="-7505" y="184036"/>
                  <a:pt x="460510" y="0"/>
                  <a:pt x="671182"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marL="0" indent="0">
              <a:buNone/>
              <a:defRPr lang="en-US" sz="825">
                <a:solidFill>
                  <a:schemeClr val="lt1"/>
                </a:solidFill>
              </a:defRPr>
            </a:lvl1pPr>
          </a:lstStyle>
          <a:p>
            <a:pPr marL="0" lvl="0" algn="ctr"/>
            <a:r>
              <a:rPr lang="en-US"/>
              <a:t>Click icon to add picture</a:t>
            </a:r>
          </a:p>
        </p:txBody>
      </p:sp>
      <p:sp>
        <p:nvSpPr>
          <p:cNvPr id="24" name="Picture Placeholder 23">
            <a:extLst>
              <a:ext uri="{FF2B5EF4-FFF2-40B4-BE49-F238E27FC236}">
                <a16:creationId xmlns:a16="http://schemas.microsoft.com/office/drawing/2014/main" id="{6979DC04-0C71-6F6E-AA4F-673445ADB60A}"/>
              </a:ext>
            </a:extLst>
          </p:cNvPr>
          <p:cNvSpPr>
            <a:spLocks noGrp="1"/>
          </p:cNvSpPr>
          <p:nvPr>
            <p:ph type="pic" sz="quarter" idx="16"/>
          </p:nvPr>
        </p:nvSpPr>
        <p:spPr>
          <a:xfrm>
            <a:off x="5680823" y="2763985"/>
            <a:ext cx="1001924" cy="1190088"/>
          </a:xfrm>
          <a:custGeom>
            <a:avLst/>
            <a:gdLst>
              <a:gd name="connsiteX0" fmla="*/ 759607 w 1335899"/>
              <a:gd name="connsiteY0" fmla="*/ 125 h 1190088"/>
              <a:gd name="connsiteX1" fmla="*/ 811981 w 1335899"/>
              <a:gd name="connsiteY1" fmla="*/ 6414 h 1190088"/>
              <a:gd name="connsiteX2" fmla="*/ 1221546 w 1335899"/>
              <a:gd name="connsiteY2" fmla="*/ 1070466 h 1190088"/>
              <a:gd name="connsiteX3" fmla="*/ 5239 w 1335899"/>
              <a:gd name="connsiteY3" fmla="*/ 784696 h 1190088"/>
              <a:gd name="connsiteX4" fmla="*/ 759607 w 1335899"/>
              <a:gd name="connsiteY4" fmla="*/ 125 h 11900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5899" h="1190088">
                <a:moveTo>
                  <a:pt x="759607" y="125"/>
                </a:moveTo>
                <a:cubicBezTo>
                  <a:pt x="778295" y="-541"/>
                  <a:pt x="795838" y="1453"/>
                  <a:pt x="811981" y="6414"/>
                </a:cubicBezTo>
                <a:cubicBezTo>
                  <a:pt x="1070265" y="85795"/>
                  <a:pt x="1557898" y="740548"/>
                  <a:pt x="1221546" y="1070466"/>
                </a:cubicBezTo>
                <a:cubicBezTo>
                  <a:pt x="885194" y="1400384"/>
                  <a:pt x="73500" y="962038"/>
                  <a:pt x="5239" y="784696"/>
                </a:cubicBezTo>
                <a:cubicBezTo>
                  <a:pt x="-58755" y="618438"/>
                  <a:pt x="479282" y="10109"/>
                  <a:pt x="759607" y="12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marL="0" indent="0">
              <a:buNone/>
              <a:defRPr lang="en-US" sz="825">
                <a:solidFill>
                  <a:schemeClr val="lt1"/>
                </a:solidFill>
              </a:defRPr>
            </a:lvl1pPr>
          </a:lstStyle>
          <a:p>
            <a:pPr marL="0" lvl="0" algn="ctr"/>
            <a:r>
              <a:rPr lang="en-US"/>
              <a:t>Click icon to add picture</a:t>
            </a:r>
          </a:p>
        </p:txBody>
      </p:sp>
      <p:sp>
        <p:nvSpPr>
          <p:cNvPr id="23" name="Picture Placeholder 22">
            <a:extLst>
              <a:ext uri="{FF2B5EF4-FFF2-40B4-BE49-F238E27FC236}">
                <a16:creationId xmlns:a16="http://schemas.microsoft.com/office/drawing/2014/main" id="{8650B4E8-3C98-7144-C340-C6D24AF00DB6}"/>
              </a:ext>
            </a:extLst>
          </p:cNvPr>
          <p:cNvSpPr>
            <a:spLocks noGrp="1"/>
          </p:cNvSpPr>
          <p:nvPr>
            <p:ph type="pic" sz="quarter" idx="17"/>
          </p:nvPr>
        </p:nvSpPr>
        <p:spPr>
          <a:xfrm>
            <a:off x="7341578" y="2748705"/>
            <a:ext cx="976432" cy="1218817"/>
          </a:xfrm>
          <a:custGeom>
            <a:avLst/>
            <a:gdLst>
              <a:gd name="connsiteX0" fmla="*/ 621383 w 1301909"/>
              <a:gd name="connsiteY0" fmla="*/ 3 h 1218817"/>
              <a:gd name="connsiteX1" fmla="*/ 1301909 w 1301909"/>
              <a:gd name="connsiteY1" fmla="*/ 628849 h 1218817"/>
              <a:gd name="connsiteX2" fmla="*/ 628776 w 1301909"/>
              <a:gd name="connsiteY2" fmla="*/ 1218815 h 1218817"/>
              <a:gd name="connsiteX3" fmla="*/ 3 w 1301909"/>
              <a:gd name="connsiteY3" fmla="*/ 635329 h 1218817"/>
              <a:gd name="connsiteX4" fmla="*/ 621383 w 1301909"/>
              <a:gd name="connsiteY4" fmla="*/ 3 h 12188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909" h="1218817">
                <a:moveTo>
                  <a:pt x="621383" y="3"/>
                </a:moveTo>
                <a:cubicBezTo>
                  <a:pt x="838367" y="-1077"/>
                  <a:pt x="1301909" y="303019"/>
                  <a:pt x="1301909" y="628849"/>
                </a:cubicBezTo>
                <a:cubicBezTo>
                  <a:pt x="1301909" y="954678"/>
                  <a:pt x="845760" y="1217736"/>
                  <a:pt x="628776" y="1218815"/>
                </a:cubicBezTo>
                <a:cubicBezTo>
                  <a:pt x="411791" y="1219895"/>
                  <a:pt x="1235" y="838464"/>
                  <a:pt x="3" y="635329"/>
                </a:cubicBezTo>
                <a:cubicBezTo>
                  <a:pt x="-1229" y="432193"/>
                  <a:pt x="404398" y="1082"/>
                  <a:pt x="621383" y="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lvl1pPr marL="0" indent="0">
              <a:buNone/>
              <a:defRPr lang="en-US" sz="825" dirty="0">
                <a:solidFill>
                  <a:schemeClr val="lt1"/>
                </a:solidFill>
              </a:defRPr>
            </a:lvl1pPr>
          </a:lstStyle>
          <a:p>
            <a:pPr marL="0" lvl="0" algn="ctr"/>
            <a:r>
              <a:rPr lang="en-US"/>
              <a:t>Click icon to add picture</a:t>
            </a:r>
          </a:p>
        </p:txBody>
      </p:sp>
      <p:sp>
        <p:nvSpPr>
          <p:cNvPr id="2" name="Title 1">
            <a:extLst>
              <a:ext uri="{FF2B5EF4-FFF2-40B4-BE49-F238E27FC236}">
                <a16:creationId xmlns:a16="http://schemas.microsoft.com/office/drawing/2014/main" id="{4B2F7D74-558F-4816-9367-4004FFA2B6A4}"/>
              </a:ext>
            </a:extLst>
          </p:cNvPr>
          <p:cNvSpPr>
            <a:spLocks noGrp="1"/>
          </p:cNvSpPr>
          <p:nvPr>
            <p:ph type="title"/>
          </p:nvPr>
        </p:nvSpPr>
        <p:spPr/>
        <p:txBody>
          <a:bodyPr>
            <a:noAutofit/>
          </a:bodyPr>
          <a:lstStyle>
            <a:lvl1pPr algn="ctr">
              <a:defRPr/>
            </a:lvl1pPr>
          </a:lstStyle>
          <a:p>
            <a:r>
              <a:rPr lang="en-US"/>
              <a:t>Click to edit Master title style</a:t>
            </a:r>
          </a:p>
        </p:txBody>
      </p:sp>
      <p:sp>
        <p:nvSpPr>
          <p:cNvPr id="29" name="Slide Number Placeholder 47">
            <a:extLst>
              <a:ext uri="{FF2B5EF4-FFF2-40B4-BE49-F238E27FC236}">
                <a16:creationId xmlns:a16="http://schemas.microsoft.com/office/drawing/2014/main" id="{3D6EB8CA-3E97-2203-B243-CF8914F5EDBE}"/>
              </a:ext>
            </a:extLst>
          </p:cNvPr>
          <p:cNvSpPr>
            <a:spLocks noGrp="1"/>
          </p:cNvSpPr>
          <p:nvPr>
            <p:ph type="sldNum" sz="quarter" idx="12"/>
          </p:nvPr>
        </p:nvSpPr>
        <p:spPr>
          <a:xfrm>
            <a:off x="8620295" y="6232422"/>
            <a:ext cx="263185" cy="338960"/>
          </a:xfrm>
          <a:custGeom>
            <a:avLst/>
            <a:gdLst>
              <a:gd name="connsiteX0" fmla="*/ 154845 w 350913"/>
              <a:gd name="connsiteY0" fmla="*/ 22 h 338960"/>
              <a:gd name="connsiteX1" fmla="*/ 340005 w 350913"/>
              <a:gd name="connsiteY1" fmla="*/ 221278 h 338960"/>
              <a:gd name="connsiteX2" fmla="*/ 10634 w 350913"/>
              <a:gd name="connsiteY2" fmla="*/ 289178 h 338960"/>
              <a:gd name="connsiteX3" fmla="*/ 119488 w 350913"/>
              <a:gd name="connsiteY3" fmla="*/ 4155 h 338960"/>
              <a:gd name="connsiteX4" fmla="*/ 154845 w 350913"/>
              <a:gd name="connsiteY4" fmla="*/ 22 h 338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13" h="338960">
                <a:moveTo>
                  <a:pt x="154845" y="22"/>
                </a:moveTo>
                <a:cubicBezTo>
                  <a:pt x="246677" y="-1293"/>
                  <a:pt x="391912" y="57780"/>
                  <a:pt x="340005" y="221278"/>
                </a:cubicBezTo>
                <a:cubicBezTo>
                  <a:pt x="280684" y="408133"/>
                  <a:pt x="47387" y="325365"/>
                  <a:pt x="10634" y="289178"/>
                </a:cubicBezTo>
                <a:cubicBezTo>
                  <a:pt x="-26119" y="252991"/>
                  <a:pt x="37818" y="24351"/>
                  <a:pt x="119488" y="4155"/>
                </a:cubicBezTo>
                <a:cubicBezTo>
                  <a:pt x="129697" y="1631"/>
                  <a:pt x="141726" y="210"/>
                  <a:pt x="154845" y="22"/>
                </a:cubicBezTo>
                <a:close/>
              </a:path>
            </a:pathLst>
          </a:custGeom>
          <a:ln>
            <a:solidFill>
              <a:schemeClr val="accent4"/>
            </a:solidFill>
          </a:ln>
        </p:spPr>
        <p:txBody>
          <a:bodyPr wrap="square">
            <a:noAutofit/>
          </a:bodyPr>
          <a:lstStyle>
            <a:lvl1pPr algn="ctr">
              <a:defRPr/>
            </a:lvl1pPr>
          </a:lstStyle>
          <a:p>
            <a:fld id="{294A09A9-5501-47C1-A89A-A340965A2BE2}" type="slidenum">
              <a:rPr lang="en-US" smtClean="0"/>
              <a:pPr/>
              <a:t>‹#›</a:t>
            </a:fld>
            <a:endParaRPr lang="en-US"/>
          </a:p>
        </p:txBody>
      </p:sp>
      <p:sp>
        <p:nvSpPr>
          <p:cNvPr id="30" name="Footer Placeholder 5">
            <a:extLst>
              <a:ext uri="{FF2B5EF4-FFF2-40B4-BE49-F238E27FC236}">
                <a16:creationId xmlns:a16="http://schemas.microsoft.com/office/drawing/2014/main" id="{53128DA0-531E-7131-B5DA-D9EC1CEABF7C}"/>
              </a:ext>
            </a:extLst>
          </p:cNvPr>
          <p:cNvSpPr>
            <a:spLocks noGrp="1"/>
          </p:cNvSpPr>
          <p:nvPr>
            <p:ph type="ftr" sz="quarter" idx="11"/>
          </p:nvPr>
        </p:nvSpPr>
        <p:spPr>
          <a:xfrm>
            <a:off x="294894" y="6281928"/>
            <a:ext cx="1837944" cy="274320"/>
          </a:xfrm>
          <a:prstGeom prst="rect">
            <a:avLst/>
          </a:prstGeom>
        </p:spPr>
        <p:txBody>
          <a:bodyPr>
            <a:noAutofit/>
          </a:bodyPr>
          <a:lstStyle>
            <a:lvl1pPr algn="l">
              <a:defRPr/>
            </a:lvl1pPr>
          </a:lstStyle>
          <a:p>
            <a:r>
              <a:rPr lang="en-US"/>
              <a:t>Contoso grand opening event</a:t>
            </a:r>
          </a:p>
        </p:txBody>
      </p:sp>
      <p:sp>
        <p:nvSpPr>
          <p:cNvPr id="47" name="Text Placeholder 39">
            <a:extLst>
              <a:ext uri="{FF2B5EF4-FFF2-40B4-BE49-F238E27FC236}">
                <a16:creationId xmlns:a16="http://schemas.microsoft.com/office/drawing/2014/main" id="{3E65F5D0-1347-F2CA-1AC1-6D1A53EC52C1}"/>
              </a:ext>
            </a:extLst>
          </p:cNvPr>
          <p:cNvSpPr>
            <a:spLocks noGrp="1"/>
          </p:cNvSpPr>
          <p:nvPr>
            <p:ph type="body" sz="quarter" idx="18"/>
          </p:nvPr>
        </p:nvSpPr>
        <p:spPr>
          <a:xfrm>
            <a:off x="797663" y="4123944"/>
            <a:ext cx="1028700" cy="365760"/>
          </a:xfrm>
        </p:spPr>
        <p:txBody>
          <a:bodyPr anchor="t">
            <a:noAutofit/>
          </a:bodyPr>
          <a:lstStyle>
            <a:lvl1pPr marL="0" indent="0" algn="l">
              <a:lnSpc>
                <a:spcPct val="100000"/>
              </a:lnSpc>
              <a:buNone/>
              <a:defRPr sz="135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48" name="Text Placeholder 39">
            <a:extLst>
              <a:ext uri="{FF2B5EF4-FFF2-40B4-BE49-F238E27FC236}">
                <a16:creationId xmlns:a16="http://schemas.microsoft.com/office/drawing/2014/main" id="{BE68704E-A8DC-AC90-F667-6FEE13C3E65C}"/>
              </a:ext>
            </a:extLst>
          </p:cNvPr>
          <p:cNvSpPr>
            <a:spLocks noGrp="1"/>
          </p:cNvSpPr>
          <p:nvPr>
            <p:ph type="body" sz="quarter" idx="21"/>
          </p:nvPr>
        </p:nvSpPr>
        <p:spPr>
          <a:xfrm>
            <a:off x="795730" y="4498849"/>
            <a:ext cx="1021842" cy="954107"/>
          </a:xfrm>
        </p:spPr>
        <p:txBody>
          <a:bodyPr anchor="ctr">
            <a:noAutofit/>
          </a:bodyPr>
          <a:lstStyle>
            <a:lvl1pPr marL="0" indent="0" algn="l">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49" name="Text Placeholder 39">
            <a:extLst>
              <a:ext uri="{FF2B5EF4-FFF2-40B4-BE49-F238E27FC236}">
                <a16:creationId xmlns:a16="http://schemas.microsoft.com/office/drawing/2014/main" id="{3F5AC1ED-89A8-B725-6256-728470F9EAE7}"/>
              </a:ext>
            </a:extLst>
          </p:cNvPr>
          <p:cNvSpPr>
            <a:spLocks noGrp="1"/>
          </p:cNvSpPr>
          <p:nvPr>
            <p:ph type="body" sz="quarter" idx="22"/>
          </p:nvPr>
        </p:nvSpPr>
        <p:spPr>
          <a:xfrm>
            <a:off x="2414016" y="4123944"/>
            <a:ext cx="1028700" cy="365760"/>
          </a:xfrm>
        </p:spPr>
        <p:txBody>
          <a:bodyPr anchor="t">
            <a:noAutofit/>
          </a:bodyPr>
          <a:lstStyle>
            <a:lvl1pPr marL="0" indent="0" algn="l">
              <a:lnSpc>
                <a:spcPct val="100000"/>
              </a:lnSpc>
              <a:buNone/>
              <a:defRPr sz="135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50" name="Text Placeholder 39">
            <a:extLst>
              <a:ext uri="{FF2B5EF4-FFF2-40B4-BE49-F238E27FC236}">
                <a16:creationId xmlns:a16="http://schemas.microsoft.com/office/drawing/2014/main" id="{F3CCCAA1-05AF-631C-A3C9-6624A1EC81DE}"/>
              </a:ext>
            </a:extLst>
          </p:cNvPr>
          <p:cNvSpPr>
            <a:spLocks noGrp="1"/>
          </p:cNvSpPr>
          <p:nvPr>
            <p:ph type="body" sz="quarter" idx="23"/>
          </p:nvPr>
        </p:nvSpPr>
        <p:spPr>
          <a:xfrm>
            <a:off x="2414016" y="4498849"/>
            <a:ext cx="1021842" cy="954107"/>
          </a:xfrm>
        </p:spPr>
        <p:txBody>
          <a:bodyPr anchor="ctr">
            <a:noAutofit/>
          </a:bodyPr>
          <a:lstStyle>
            <a:lvl1pPr marL="0" indent="0" algn="l">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51" name="Text Placeholder 39">
            <a:extLst>
              <a:ext uri="{FF2B5EF4-FFF2-40B4-BE49-F238E27FC236}">
                <a16:creationId xmlns:a16="http://schemas.microsoft.com/office/drawing/2014/main" id="{0863D880-3EE8-64D4-08CB-DB860ED6AABC}"/>
              </a:ext>
            </a:extLst>
          </p:cNvPr>
          <p:cNvSpPr>
            <a:spLocks noGrp="1"/>
          </p:cNvSpPr>
          <p:nvPr>
            <p:ph type="body" sz="quarter" idx="24"/>
          </p:nvPr>
        </p:nvSpPr>
        <p:spPr>
          <a:xfrm>
            <a:off x="4053078" y="4123944"/>
            <a:ext cx="1028700" cy="365760"/>
          </a:xfrm>
        </p:spPr>
        <p:txBody>
          <a:bodyPr anchor="t">
            <a:noAutofit/>
          </a:bodyPr>
          <a:lstStyle>
            <a:lvl1pPr marL="0" indent="0" algn="l">
              <a:lnSpc>
                <a:spcPct val="100000"/>
              </a:lnSpc>
              <a:buNone/>
              <a:defRPr sz="135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52" name="Text Placeholder 39">
            <a:extLst>
              <a:ext uri="{FF2B5EF4-FFF2-40B4-BE49-F238E27FC236}">
                <a16:creationId xmlns:a16="http://schemas.microsoft.com/office/drawing/2014/main" id="{8C74E023-D18E-6039-1DE0-9A2BB63F429C}"/>
              </a:ext>
            </a:extLst>
          </p:cNvPr>
          <p:cNvSpPr>
            <a:spLocks noGrp="1"/>
          </p:cNvSpPr>
          <p:nvPr>
            <p:ph type="body" sz="quarter" idx="25"/>
          </p:nvPr>
        </p:nvSpPr>
        <p:spPr>
          <a:xfrm>
            <a:off x="4053078" y="4498849"/>
            <a:ext cx="1021842" cy="954107"/>
          </a:xfrm>
        </p:spPr>
        <p:txBody>
          <a:bodyPr anchor="ctr">
            <a:noAutofit/>
          </a:bodyPr>
          <a:lstStyle>
            <a:lvl1pPr marL="0" indent="0" algn="l">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53" name="Text Placeholder 39">
            <a:extLst>
              <a:ext uri="{FF2B5EF4-FFF2-40B4-BE49-F238E27FC236}">
                <a16:creationId xmlns:a16="http://schemas.microsoft.com/office/drawing/2014/main" id="{7299E6A2-D3C9-DE9A-B1C7-F97C864DDFDC}"/>
              </a:ext>
            </a:extLst>
          </p:cNvPr>
          <p:cNvSpPr>
            <a:spLocks noGrp="1"/>
          </p:cNvSpPr>
          <p:nvPr>
            <p:ph type="body" sz="quarter" idx="26"/>
          </p:nvPr>
        </p:nvSpPr>
        <p:spPr>
          <a:xfrm>
            <a:off x="5664708" y="4123944"/>
            <a:ext cx="1028700" cy="365760"/>
          </a:xfrm>
        </p:spPr>
        <p:txBody>
          <a:bodyPr anchor="t">
            <a:noAutofit/>
          </a:bodyPr>
          <a:lstStyle>
            <a:lvl1pPr marL="0" indent="0" algn="l">
              <a:lnSpc>
                <a:spcPct val="100000"/>
              </a:lnSpc>
              <a:buNone/>
              <a:defRPr sz="135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54" name="Text Placeholder 39">
            <a:extLst>
              <a:ext uri="{FF2B5EF4-FFF2-40B4-BE49-F238E27FC236}">
                <a16:creationId xmlns:a16="http://schemas.microsoft.com/office/drawing/2014/main" id="{AD547EE1-5C3B-2287-B9E3-9F0376DF306D}"/>
              </a:ext>
            </a:extLst>
          </p:cNvPr>
          <p:cNvSpPr>
            <a:spLocks noGrp="1"/>
          </p:cNvSpPr>
          <p:nvPr>
            <p:ph type="body" sz="quarter" idx="27"/>
          </p:nvPr>
        </p:nvSpPr>
        <p:spPr>
          <a:xfrm>
            <a:off x="5664708" y="4498849"/>
            <a:ext cx="1021842" cy="954107"/>
          </a:xfrm>
        </p:spPr>
        <p:txBody>
          <a:bodyPr anchor="ctr">
            <a:noAutofit/>
          </a:bodyPr>
          <a:lstStyle>
            <a:lvl1pPr marL="0" indent="0" algn="l">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55" name="Text Placeholder 39">
            <a:extLst>
              <a:ext uri="{FF2B5EF4-FFF2-40B4-BE49-F238E27FC236}">
                <a16:creationId xmlns:a16="http://schemas.microsoft.com/office/drawing/2014/main" id="{4B62DCAF-9B73-498E-0829-9496E739183A}"/>
              </a:ext>
            </a:extLst>
          </p:cNvPr>
          <p:cNvSpPr>
            <a:spLocks noGrp="1"/>
          </p:cNvSpPr>
          <p:nvPr>
            <p:ph type="body" sz="quarter" idx="28"/>
          </p:nvPr>
        </p:nvSpPr>
        <p:spPr>
          <a:xfrm>
            <a:off x="7317486" y="4123944"/>
            <a:ext cx="1028700" cy="365760"/>
          </a:xfrm>
        </p:spPr>
        <p:txBody>
          <a:bodyPr anchor="t">
            <a:noAutofit/>
          </a:bodyPr>
          <a:lstStyle>
            <a:lvl1pPr marL="0" indent="0" algn="l">
              <a:lnSpc>
                <a:spcPct val="100000"/>
              </a:lnSpc>
              <a:buNone/>
              <a:defRPr sz="135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56" name="Text Placeholder 39">
            <a:extLst>
              <a:ext uri="{FF2B5EF4-FFF2-40B4-BE49-F238E27FC236}">
                <a16:creationId xmlns:a16="http://schemas.microsoft.com/office/drawing/2014/main" id="{B6877860-2940-382D-E00F-3B733A253F8F}"/>
              </a:ext>
            </a:extLst>
          </p:cNvPr>
          <p:cNvSpPr>
            <a:spLocks noGrp="1"/>
          </p:cNvSpPr>
          <p:nvPr>
            <p:ph type="body" sz="quarter" idx="29"/>
          </p:nvPr>
        </p:nvSpPr>
        <p:spPr>
          <a:xfrm>
            <a:off x="7317486" y="4498849"/>
            <a:ext cx="1021842" cy="954107"/>
          </a:xfrm>
        </p:spPr>
        <p:txBody>
          <a:bodyPr anchor="ctr">
            <a:noAutofit/>
          </a:bodyPr>
          <a:lstStyle>
            <a:lvl1pPr marL="0" indent="0" algn="l">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cxnSp>
        <p:nvCxnSpPr>
          <p:cNvPr id="58" name="Straight Connector 57">
            <a:extLst>
              <a:ext uri="{FF2B5EF4-FFF2-40B4-BE49-F238E27FC236}">
                <a16:creationId xmlns:a16="http://schemas.microsoft.com/office/drawing/2014/main" id="{8A238256-237D-24D6-5A38-E198DB1EB604}"/>
              </a:ext>
            </a:extLst>
          </p:cNvPr>
          <p:cNvCxnSpPr>
            <a:cxnSpLocks/>
          </p:cNvCxnSpPr>
          <p:nvPr userDrawn="1"/>
        </p:nvCxnSpPr>
        <p:spPr>
          <a:xfrm flipV="1">
            <a:off x="780957" y="2393353"/>
            <a:ext cx="534430" cy="1293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58A92CDD-5053-BFA6-FEE3-50FFA7D6EE81}"/>
              </a:ext>
            </a:extLst>
          </p:cNvPr>
          <p:cNvCxnSpPr>
            <a:cxnSpLocks/>
          </p:cNvCxnSpPr>
          <p:nvPr userDrawn="1"/>
        </p:nvCxnSpPr>
        <p:spPr>
          <a:xfrm>
            <a:off x="1315387" y="2393352"/>
            <a:ext cx="1627838"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AC28C8B-11F4-0BED-1FE8-E10E4DD3030A}"/>
              </a:ext>
            </a:extLst>
          </p:cNvPr>
          <p:cNvCxnSpPr>
            <a:cxnSpLocks/>
          </p:cNvCxnSpPr>
          <p:nvPr userDrawn="1"/>
        </p:nvCxnSpPr>
        <p:spPr>
          <a:xfrm>
            <a:off x="2943225" y="2391883"/>
            <a:ext cx="1628775"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F058929-9E17-5F0C-C475-EBB62C0D1468}"/>
              </a:ext>
            </a:extLst>
          </p:cNvPr>
          <p:cNvCxnSpPr>
            <a:cxnSpLocks/>
          </p:cNvCxnSpPr>
          <p:nvPr userDrawn="1"/>
        </p:nvCxnSpPr>
        <p:spPr>
          <a:xfrm>
            <a:off x="4572001" y="2391883"/>
            <a:ext cx="1621136" cy="14408"/>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7667C6C-7D88-4368-2395-8414D68B5C3B}"/>
              </a:ext>
            </a:extLst>
          </p:cNvPr>
          <p:cNvCxnSpPr>
            <a:cxnSpLocks/>
          </p:cNvCxnSpPr>
          <p:nvPr userDrawn="1"/>
        </p:nvCxnSpPr>
        <p:spPr>
          <a:xfrm>
            <a:off x="6193137" y="2402544"/>
            <a:ext cx="1641898"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D9354D76-073A-C99D-A74A-389343736C7D}"/>
              </a:ext>
            </a:extLst>
          </p:cNvPr>
          <p:cNvCxnSpPr>
            <a:cxnSpLocks/>
          </p:cNvCxnSpPr>
          <p:nvPr userDrawn="1"/>
        </p:nvCxnSpPr>
        <p:spPr>
          <a:xfrm>
            <a:off x="7835034" y="2398796"/>
            <a:ext cx="5014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9" name="Text Placeholder 88">
            <a:extLst>
              <a:ext uri="{FF2B5EF4-FFF2-40B4-BE49-F238E27FC236}">
                <a16:creationId xmlns:a16="http://schemas.microsoft.com/office/drawing/2014/main" id="{F16DF89E-D658-4FD6-396D-5BDB8D50DCF1}"/>
              </a:ext>
            </a:extLst>
          </p:cNvPr>
          <p:cNvSpPr>
            <a:spLocks noGrp="1"/>
          </p:cNvSpPr>
          <p:nvPr>
            <p:ph type="body" sz="quarter" idx="30" hasCustomPrompt="1"/>
          </p:nvPr>
        </p:nvSpPr>
        <p:spPr>
          <a:xfrm>
            <a:off x="1222913" y="2287828"/>
            <a:ext cx="157047" cy="209396"/>
          </a:xfrm>
          <a:custGeom>
            <a:avLst/>
            <a:gdLst>
              <a:gd name="connsiteX0" fmla="*/ 104698 w 209396"/>
              <a:gd name="connsiteY0" fmla="*/ 0 h 209396"/>
              <a:gd name="connsiteX1" fmla="*/ 209396 w 209396"/>
              <a:gd name="connsiteY1" fmla="*/ 104698 h 209396"/>
              <a:gd name="connsiteX2" fmla="*/ 104698 w 209396"/>
              <a:gd name="connsiteY2" fmla="*/ 209396 h 209396"/>
              <a:gd name="connsiteX3" fmla="*/ 0 w 209396"/>
              <a:gd name="connsiteY3" fmla="*/ 104698 h 209396"/>
              <a:gd name="connsiteX4" fmla="*/ 104698 w 209396"/>
              <a:gd name="connsiteY4" fmla="*/ 0 h 209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96" h="209396">
                <a:moveTo>
                  <a:pt x="104698" y="0"/>
                </a:moveTo>
                <a:cubicBezTo>
                  <a:pt x="162521" y="0"/>
                  <a:pt x="209396" y="46875"/>
                  <a:pt x="209396" y="104698"/>
                </a:cubicBezTo>
                <a:cubicBezTo>
                  <a:pt x="209396" y="162521"/>
                  <a:pt x="162521" y="209396"/>
                  <a:pt x="104698" y="209396"/>
                </a:cubicBezTo>
                <a:cubicBezTo>
                  <a:pt x="46875" y="209396"/>
                  <a:pt x="0" y="162521"/>
                  <a:pt x="0" y="104698"/>
                </a:cubicBezTo>
                <a:cubicBezTo>
                  <a:pt x="0" y="46875"/>
                  <a:pt x="46875" y="0"/>
                  <a:pt x="104698" y="0"/>
                </a:cubicBezTo>
                <a:close/>
              </a:path>
            </a:pathLst>
          </a:custGeom>
          <a:solidFill>
            <a:schemeClr val="accent6"/>
          </a:solidFill>
        </p:spPr>
        <p:txBody>
          <a:bodyPr wrap="square" anchor="ctr">
            <a:noAutofit/>
          </a:bodyPr>
          <a:lstStyle>
            <a:lvl1pPr marL="0" indent="0" algn="ctr">
              <a:buNone/>
              <a:defRPr sz="600">
                <a:solidFill>
                  <a:schemeClr val="tx1">
                    <a:alpha val="0"/>
                  </a:schemeClr>
                </a:solidFill>
              </a:defRPr>
            </a:lvl1pPr>
          </a:lstStyle>
          <a:p>
            <a:pPr lvl="0"/>
            <a:r>
              <a:rPr lang="en-US"/>
              <a:t>X</a:t>
            </a:r>
          </a:p>
        </p:txBody>
      </p:sp>
      <p:sp>
        <p:nvSpPr>
          <p:cNvPr id="88" name="Text Placeholder 87">
            <a:extLst>
              <a:ext uri="{FF2B5EF4-FFF2-40B4-BE49-F238E27FC236}">
                <a16:creationId xmlns:a16="http://schemas.microsoft.com/office/drawing/2014/main" id="{B15E5DF8-5D98-0B9D-2EA1-44D9BB4CDAD7}"/>
              </a:ext>
            </a:extLst>
          </p:cNvPr>
          <p:cNvSpPr>
            <a:spLocks noGrp="1"/>
          </p:cNvSpPr>
          <p:nvPr>
            <p:ph type="body" sz="quarter" idx="31" hasCustomPrompt="1"/>
          </p:nvPr>
        </p:nvSpPr>
        <p:spPr>
          <a:xfrm>
            <a:off x="2853872" y="2292868"/>
            <a:ext cx="157047" cy="209396"/>
          </a:xfrm>
          <a:custGeom>
            <a:avLst/>
            <a:gdLst>
              <a:gd name="connsiteX0" fmla="*/ 104698 w 209396"/>
              <a:gd name="connsiteY0" fmla="*/ 0 h 209396"/>
              <a:gd name="connsiteX1" fmla="*/ 209396 w 209396"/>
              <a:gd name="connsiteY1" fmla="*/ 104698 h 209396"/>
              <a:gd name="connsiteX2" fmla="*/ 104698 w 209396"/>
              <a:gd name="connsiteY2" fmla="*/ 209396 h 209396"/>
              <a:gd name="connsiteX3" fmla="*/ 0 w 209396"/>
              <a:gd name="connsiteY3" fmla="*/ 104698 h 209396"/>
              <a:gd name="connsiteX4" fmla="*/ 104698 w 209396"/>
              <a:gd name="connsiteY4" fmla="*/ 0 h 209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96" h="209396">
                <a:moveTo>
                  <a:pt x="104698" y="0"/>
                </a:moveTo>
                <a:cubicBezTo>
                  <a:pt x="162521" y="0"/>
                  <a:pt x="209396" y="46875"/>
                  <a:pt x="209396" y="104698"/>
                </a:cubicBezTo>
                <a:cubicBezTo>
                  <a:pt x="209396" y="162521"/>
                  <a:pt x="162521" y="209396"/>
                  <a:pt x="104698" y="209396"/>
                </a:cubicBezTo>
                <a:cubicBezTo>
                  <a:pt x="46875" y="209396"/>
                  <a:pt x="0" y="162521"/>
                  <a:pt x="0" y="104698"/>
                </a:cubicBezTo>
                <a:cubicBezTo>
                  <a:pt x="0" y="46875"/>
                  <a:pt x="46875" y="0"/>
                  <a:pt x="104698" y="0"/>
                </a:cubicBezTo>
                <a:close/>
              </a:path>
            </a:pathLst>
          </a:custGeom>
          <a:solidFill>
            <a:schemeClr val="accent5"/>
          </a:solidFill>
        </p:spPr>
        <p:txBody>
          <a:bodyPr wrap="square" anchor="ctr">
            <a:noAutofit/>
          </a:bodyPr>
          <a:lstStyle>
            <a:lvl1pPr marL="0" indent="0" algn="ctr">
              <a:buNone/>
              <a:defRPr sz="600">
                <a:solidFill>
                  <a:schemeClr val="tx1">
                    <a:alpha val="0"/>
                  </a:schemeClr>
                </a:solidFill>
              </a:defRPr>
            </a:lvl1pPr>
          </a:lstStyle>
          <a:p>
            <a:pPr lvl="0"/>
            <a:r>
              <a:rPr lang="en-US"/>
              <a:t>X</a:t>
            </a:r>
          </a:p>
        </p:txBody>
      </p:sp>
      <p:sp>
        <p:nvSpPr>
          <p:cNvPr id="87" name="Text Placeholder 86">
            <a:extLst>
              <a:ext uri="{FF2B5EF4-FFF2-40B4-BE49-F238E27FC236}">
                <a16:creationId xmlns:a16="http://schemas.microsoft.com/office/drawing/2014/main" id="{143A506F-C19F-441F-4497-D86E9AB332F1}"/>
              </a:ext>
            </a:extLst>
          </p:cNvPr>
          <p:cNvSpPr>
            <a:spLocks noGrp="1"/>
          </p:cNvSpPr>
          <p:nvPr>
            <p:ph type="body" sz="quarter" idx="32" hasCustomPrompt="1"/>
          </p:nvPr>
        </p:nvSpPr>
        <p:spPr>
          <a:xfrm>
            <a:off x="4488009" y="2288841"/>
            <a:ext cx="157047" cy="209396"/>
          </a:xfrm>
          <a:custGeom>
            <a:avLst/>
            <a:gdLst>
              <a:gd name="connsiteX0" fmla="*/ 104698 w 209396"/>
              <a:gd name="connsiteY0" fmla="*/ 0 h 209396"/>
              <a:gd name="connsiteX1" fmla="*/ 209396 w 209396"/>
              <a:gd name="connsiteY1" fmla="*/ 104698 h 209396"/>
              <a:gd name="connsiteX2" fmla="*/ 104698 w 209396"/>
              <a:gd name="connsiteY2" fmla="*/ 209396 h 209396"/>
              <a:gd name="connsiteX3" fmla="*/ 0 w 209396"/>
              <a:gd name="connsiteY3" fmla="*/ 104698 h 209396"/>
              <a:gd name="connsiteX4" fmla="*/ 104698 w 209396"/>
              <a:gd name="connsiteY4" fmla="*/ 0 h 209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96" h="209396">
                <a:moveTo>
                  <a:pt x="104698" y="0"/>
                </a:moveTo>
                <a:cubicBezTo>
                  <a:pt x="162521" y="0"/>
                  <a:pt x="209396" y="46875"/>
                  <a:pt x="209396" y="104698"/>
                </a:cubicBezTo>
                <a:cubicBezTo>
                  <a:pt x="209396" y="162521"/>
                  <a:pt x="162521" y="209396"/>
                  <a:pt x="104698" y="209396"/>
                </a:cubicBezTo>
                <a:cubicBezTo>
                  <a:pt x="46875" y="209396"/>
                  <a:pt x="0" y="162521"/>
                  <a:pt x="0" y="104698"/>
                </a:cubicBezTo>
                <a:cubicBezTo>
                  <a:pt x="0" y="46875"/>
                  <a:pt x="46875" y="0"/>
                  <a:pt x="104698" y="0"/>
                </a:cubicBezTo>
                <a:close/>
              </a:path>
            </a:pathLst>
          </a:custGeom>
          <a:solidFill>
            <a:schemeClr val="accent4"/>
          </a:solidFill>
        </p:spPr>
        <p:txBody>
          <a:bodyPr wrap="square" anchor="ctr">
            <a:noAutofit/>
          </a:bodyPr>
          <a:lstStyle>
            <a:lvl1pPr marL="0" indent="0" algn="ctr">
              <a:buNone/>
              <a:defRPr sz="600">
                <a:solidFill>
                  <a:schemeClr val="tx1">
                    <a:alpha val="0"/>
                  </a:schemeClr>
                </a:solidFill>
              </a:defRPr>
            </a:lvl1pPr>
          </a:lstStyle>
          <a:p>
            <a:pPr lvl="0"/>
            <a:r>
              <a:rPr lang="en-US"/>
              <a:t>X</a:t>
            </a:r>
          </a:p>
        </p:txBody>
      </p:sp>
      <p:sp>
        <p:nvSpPr>
          <p:cNvPr id="86" name="Text Placeholder 85">
            <a:extLst>
              <a:ext uri="{FF2B5EF4-FFF2-40B4-BE49-F238E27FC236}">
                <a16:creationId xmlns:a16="http://schemas.microsoft.com/office/drawing/2014/main" id="{44F32027-9269-C3DC-33AC-A69C99A8A0C3}"/>
              </a:ext>
            </a:extLst>
          </p:cNvPr>
          <p:cNvSpPr>
            <a:spLocks noGrp="1"/>
          </p:cNvSpPr>
          <p:nvPr>
            <p:ph type="body" sz="quarter" idx="33" hasCustomPrompt="1"/>
          </p:nvPr>
        </p:nvSpPr>
        <p:spPr>
          <a:xfrm>
            <a:off x="6095767" y="2297879"/>
            <a:ext cx="157047" cy="209396"/>
          </a:xfrm>
          <a:custGeom>
            <a:avLst/>
            <a:gdLst>
              <a:gd name="connsiteX0" fmla="*/ 104698 w 209396"/>
              <a:gd name="connsiteY0" fmla="*/ 0 h 209396"/>
              <a:gd name="connsiteX1" fmla="*/ 209396 w 209396"/>
              <a:gd name="connsiteY1" fmla="*/ 104698 h 209396"/>
              <a:gd name="connsiteX2" fmla="*/ 104698 w 209396"/>
              <a:gd name="connsiteY2" fmla="*/ 209396 h 209396"/>
              <a:gd name="connsiteX3" fmla="*/ 0 w 209396"/>
              <a:gd name="connsiteY3" fmla="*/ 104698 h 209396"/>
              <a:gd name="connsiteX4" fmla="*/ 104698 w 209396"/>
              <a:gd name="connsiteY4" fmla="*/ 0 h 209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96" h="209396">
                <a:moveTo>
                  <a:pt x="104698" y="0"/>
                </a:moveTo>
                <a:cubicBezTo>
                  <a:pt x="162521" y="0"/>
                  <a:pt x="209396" y="46875"/>
                  <a:pt x="209396" y="104698"/>
                </a:cubicBezTo>
                <a:cubicBezTo>
                  <a:pt x="209396" y="162521"/>
                  <a:pt x="162521" y="209396"/>
                  <a:pt x="104698" y="209396"/>
                </a:cubicBezTo>
                <a:cubicBezTo>
                  <a:pt x="46875" y="209396"/>
                  <a:pt x="0" y="162521"/>
                  <a:pt x="0" y="104698"/>
                </a:cubicBezTo>
                <a:cubicBezTo>
                  <a:pt x="0" y="46875"/>
                  <a:pt x="46875" y="0"/>
                  <a:pt x="104698" y="0"/>
                </a:cubicBezTo>
                <a:close/>
              </a:path>
            </a:pathLst>
          </a:custGeom>
          <a:solidFill>
            <a:schemeClr val="accent2"/>
          </a:solidFill>
        </p:spPr>
        <p:txBody>
          <a:bodyPr wrap="square" anchor="ctr">
            <a:noAutofit/>
          </a:bodyPr>
          <a:lstStyle>
            <a:lvl1pPr marL="0" indent="0" algn="ctr">
              <a:buNone/>
              <a:defRPr sz="600">
                <a:solidFill>
                  <a:schemeClr val="tx1">
                    <a:alpha val="0"/>
                  </a:schemeClr>
                </a:solidFill>
              </a:defRPr>
            </a:lvl1pPr>
          </a:lstStyle>
          <a:p>
            <a:pPr lvl="0"/>
            <a:r>
              <a:rPr lang="en-US"/>
              <a:t>X</a:t>
            </a:r>
          </a:p>
        </p:txBody>
      </p:sp>
      <p:sp>
        <p:nvSpPr>
          <p:cNvPr id="85" name="Text Placeholder 84">
            <a:extLst>
              <a:ext uri="{FF2B5EF4-FFF2-40B4-BE49-F238E27FC236}">
                <a16:creationId xmlns:a16="http://schemas.microsoft.com/office/drawing/2014/main" id="{F3D9D69A-000C-EF97-2383-3A915A07BB24}"/>
              </a:ext>
            </a:extLst>
          </p:cNvPr>
          <p:cNvSpPr>
            <a:spLocks noGrp="1"/>
          </p:cNvSpPr>
          <p:nvPr>
            <p:ph type="body" sz="quarter" idx="34" hasCustomPrompt="1"/>
          </p:nvPr>
        </p:nvSpPr>
        <p:spPr>
          <a:xfrm>
            <a:off x="7756511" y="2290384"/>
            <a:ext cx="157047" cy="209396"/>
          </a:xfrm>
          <a:custGeom>
            <a:avLst/>
            <a:gdLst>
              <a:gd name="connsiteX0" fmla="*/ 104698 w 209396"/>
              <a:gd name="connsiteY0" fmla="*/ 0 h 209396"/>
              <a:gd name="connsiteX1" fmla="*/ 209396 w 209396"/>
              <a:gd name="connsiteY1" fmla="*/ 104698 h 209396"/>
              <a:gd name="connsiteX2" fmla="*/ 104698 w 209396"/>
              <a:gd name="connsiteY2" fmla="*/ 209396 h 209396"/>
              <a:gd name="connsiteX3" fmla="*/ 0 w 209396"/>
              <a:gd name="connsiteY3" fmla="*/ 104698 h 209396"/>
              <a:gd name="connsiteX4" fmla="*/ 104698 w 209396"/>
              <a:gd name="connsiteY4" fmla="*/ 0 h 209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96" h="209396">
                <a:moveTo>
                  <a:pt x="104698" y="0"/>
                </a:moveTo>
                <a:cubicBezTo>
                  <a:pt x="162521" y="0"/>
                  <a:pt x="209396" y="46875"/>
                  <a:pt x="209396" y="104698"/>
                </a:cubicBezTo>
                <a:cubicBezTo>
                  <a:pt x="209396" y="162521"/>
                  <a:pt x="162521" y="209396"/>
                  <a:pt x="104698" y="209396"/>
                </a:cubicBezTo>
                <a:cubicBezTo>
                  <a:pt x="46875" y="209396"/>
                  <a:pt x="0" y="162521"/>
                  <a:pt x="0" y="104698"/>
                </a:cubicBezTo>
                <a:cubicBezTo>
                  <a:pt x="0" y="46875"/>
                  <a:pt x="46875" y="0"/>
                  <a:pt x="104698" y="0"/>
                </a:cubicBezTo>
                <a:close/>
              </a:path>
            </a:pathLst>
          </a:custGeom>
          <a:solidFill>
            <a:schemeClr val="accent1"/>
          </a:solidFill>
        </p:spPr>
        <p:txBody>
          <a:bodyPr wrap="square" anchor="ctr">
            <a:noAutofit/>
          </a:bodyPr>
          <a:lstStyle>
            <a:lvl1pPr marL="0" indent="0" algn="ctr">
              <a:buNone/>
              <a:defRPr sz="600">
                <a:solidFill>
                  <a:schemeClr val="tx1">
                    <a:alpha val="0"/>
                  </a:schemeClr>
                </a:solidFill>
              </a:defRPr>
            </a:lvl1pPr>
          </a:lstStyle>
          <a:p>
            <a:pPr lvl="0"/>
            <a:r>
              <a:rPr lang="en-US"/>
              <a:t>X</a:t>
            </a:r>
          </a:p>
        </p:txBody>
      </p:sp>
    </p:spTree>
    <p:extLst>
      <p:ext uri="{BB962C8B-B14F-4D97-AF65-F5344CB8AC3E}">
        <p14:creationId xmlns:p14="http://schemas.microsoft.com/office/powerpoint/2010/main" val="28620097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F5B64416-8A49-6E46-BB33-2F2110AF7A58}"/>
              </a:ext>
            </a:extLst>
          </p:cNvPr>
          <p:cNvSpPr/>
          <p:nvPr userDrawn="1"/>
        </p:nvSpPr>
        <p:spPr>
          <a:xfrm>
            <a:off x="1342026" y="210607"/>
            <a:ext cx="3011117" cy="2831433"/>
          </a:xfrm>
          <a:custGeom>
            <a:avLst/>
            <a:gdLst>
              <a:gd name="connsiteX0" fmla="*/ 2158295 w 4014822"/>
              <a:gd name="connsiteY0" fmla="*/ 28 h 2831433"/>
              <a:gd name="connsiteX1" fmla="*/ 3821927 w 4014822"/>
              <a:gd name="connsiteY1" fmla="*/ 451707 h 2831433"/>
              <a:gd name="connsiteX2" fmla="*/ 2116392 w 4014822"/>
              <a:gd name="connsiteY2" fmla="*/ 2831372 h 2831433"/>
              <a:gd name="connsiteX3" fmla="*/ 94181 w 4014822"/>
              <a:gd name="connsiteY3" fmla="*/ 648689 h 2831433"/>
              <a:gd name="connsiteX4" fmla="*/ 2158295 w 4014822"/>
              <a:gd name="connsiteY4" fmla="*/ 28 h 28314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4822" h="2831433">
                <a:moveTo>
                  <a:pt x="2158295" y="28"/>
                </a:moveTo>
                <a:cubicBezTo>
                  <a:pt x="2835060" y="2310"/>
                  <a:pt x="3491267" y="145999"/>
                  <a:pt x="3821927" y="451707"/>
                </a:cubicBezTo>
                <a:cubicBezTo>
                  <a:pt x="4577720" y="1150467"/>
                  <a:pt x="2923612" y="2843173"/>
                  <a:pt x="2116392" y="2831372"/>
                </a:cubicBezTo>
                <a:cubicBezTo>
                  <a:pt x="1309172" y="2819570"/>
                  <a:pt x="-421159" y="1396727"/>
                  <a:pt x="94181" y="648689"/>
                </a:cubicBezTo>
                <a:cubicBezTo>
                  <a:pt x="384060" y="227917"/>
                  <a:pt x="1288169" y="-2905"/>
                  <a:pt x="2158295" y="28"/>
                </a:cubicBezTo>
                <a:close/>
              </a:path>
            </a:pathLst>
          </a:cu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5" name="Freeform: Shape 14">
            <a:extLst>
              <a:ext uri="{FF2B5EF4-FFF2-40B4-BE49-F238E27FC236}">
                <a16:creationId xmlns:a16="http://schemas.microsoft.com/office/drawing/2014/main" id="{8701AB8A-21AD-B0F6-6FF0-D9EAE5D057D2}"/>
              </a:ext>
            </a:extLst>
          </p:cNvPr>
          <p:cNvSpPr/>
          <p:nvPr userDrawn="1"/>
        </p:nvSpPr>
        <p:spPr>
          <a:xfrm>
            <a:off x="2487799" y="327525"/>
            <a:ext cx="3233213" cy="2435326"/>
          </a:xfrm>
          <a:custGeom>
            <a:avLst/>
            <a:gdLst>
              <a:gd name="connsiteX0" fmla="*/ 495174 w 4310951"/>
              <a:gd name="connsiteY0" fmla="*/ 362 h 2435326"/>
              <a:gd name="connsiteX1" fmla="*/ 920158 w 4310951"/>
              <a:gd name="connsiteY1" fmla="*/ 105891 h 2435326"/>
              <a:gd name="connsiteX2" fmla="*/ 4180406 w 4310951"/>
              <a:gd name="connsiteY2" fmla="*/ 480943 h 2435326"/>
              <a:gd name="connsiteX3" fmla="*/ 2495563 w 4310951"/>
              <a:gd name="connsiteY3" fmla="*/ 2419118 h 2435326"/>
              <a:gd name="connsiteX4" fmla="*/ 495174 w 4310951"/>
              <a:gd name="connsiteY4" fmla="*/ 362 h 24353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0951" h="2435326">
                <a:moveTo>
                  <a:pt x="495174" y="362"/>
                </a:moveTo>
                <a:cubicBezTo>
                  <a:pt x="614244" y="4112"/>
                  <a:pt x="755611" y="37187"/>
                  <a:pt x="920158" y="105891"/>
                </a:cubicBezTo>
                <a:cubicBezTo>
                  <a:pt x="2675326" y="838735"/>
                  <a:pt x="3610717" y="-408443"/>
                  <a:pt x="4180406" y="480943"/>
                </a:cubicBezTo>
                <a:cubicBezTo>
                  <a:pt x="4750095" y="1370329"/>
                  <a:pt x="3320003" y="2351857"/>
                  <a:pt x="2495563" y="2419118"/>
                </a:cubicBezTo>
                <a:cubicBezTo>
                  <a:pt x="276728" y="2668175"/>
                  <a:pt x="-655832" y="-35888"/>
                  <a:pt x="495174" y="362"/>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4" name="Picture Placeholder 23">
            <a:extLst>
              <a:ext uri="{FF2B5EF4-FFF2-40B4-BE49-F238E27FC236}">
                <a16:creationId xmlns:a16="http://schemas.microsoft.com/office/drawing/2014/main" id="{8287F595-3431-850B-1A46-68302973CCAB}"/>
              </a:ext>
            </a:extLst>
          </p:cNvPr>
          <p:cNvSpPr>
            <a:spLocks noGrp="1"/>
          </p:cNvSpPr>
          <p:nvPr>
            <p:ph type="pic" sz="quarter" idx="13"/>
          </p:nvPr>
        </p:nvSpPr>
        <p:spPr>
          <a:xfrm>
            <a:off x="0" y="-1"/>
            <a:ext cx="9144001" cy="2655151"/>
          </a:xfrm>
          <a:custGeom>
            <a:avLst/>
            <a:gdLst>
              <a:gd name="connsiteX0" fmla="*/ 0 w 12192001"/>
              <a:gd name="connsiteY0" fmla="*/ 0 h 2655151"/>
              <a:gd name="connsiteX1" fmla="*/ 3 w 12192001"/>
              <a:gd name="connsiteY1" fmla="*/ 0 h 2655151"/>
              <a:gd name="connsiteX2" fmla="*/ 3 w 12192001"/>
              <a:gd name="connsiteY2" fmla="*/ 684 h 2655151"/>
              <a:gd name="connsiteX3" fmla="*/ 12192001 w 12192001"/>
              <a:gd name="connsiteY3" fmla="*/ 684 h 2655151"/>
              <a:gd name="connsiteX4" fmla="*/ 12192001 w 12192001"/>
              <a:gd name="connsiteY4" fmla="*/ 2407911 h 2655151"/>
              <a:gd name="connsiteX5" fmla="*/ 12191530 w 12192001"/>
              <a:gd name="connsiteY5" fmla="*/ 2407919 h 2655151"/>
              <a:gd name="connsiteX6" fmla="*/ 11594288 w 12192001"/>
              <a:gd name="connsiteY6" fmla="*/ 2482798 h 2655151"/>
              <a:gd name="connsiteX7" fmla="*/ 8040907 w 12192001"/>
              <a:gd name="connsiteY7" fmla="*/ 2486905 h 2655151"/>
              <a:gd name="connsiteX8" fmla="*/ 7786272 w 12192001"/>
              <a:gd name="connsiteY8" fmla="*/ 2448495 h 2655151"/>
              <a:gd name="connsiteX9" fmla="*/ 7777580 w 12192001"/>
              <a:gd name="connsiteY9" fmla="*/ 2445658 h 2655151"/>
              <a:gd name="connsiteX10" fmla="*/ 6489657 w 12192001"/>
              <a:gd name="connsiteY10" fmla="*/ 2249648 h 2655151"/>
              <a:gd name="connsiteX11" fmla="*/ 5190288 w 12192001"/>
              <a:gd name="connsiteY11" fmla="*/ 2280694 h 2655151"/>
              <a:gd name="connsiteX12" fmla="*/ 4860723 w 12192001"/>
              <a:gd name="connsiteY12" fmla="*/ 2317751 h 2655151"/>
              <a:gd name="connsiteX13" fmla="*/ 4637970 w 12192001"/>
              <a:gd name="connsiteY13" fmla="*/ 2355635 h 2655151"/>
              <a:gd name="connsiteX14" fmla="*/ 4481399 w 12192001"/>
              <a:gd name="connsiteY14" fmla="*/ 2371393 h 2655151"/>
              <a:gd name="connsiteX15" fmla="*/ 4194516 w 12192001"/>
              <a:gd name="connsiteY15" fmla="*/ 2417596 h 2655151"/>
              <a:gd name="connsiteX16" fmla="*/ 49281 w 12192001"/>
              <a:gd name="connsiteY16" fmla="*/ 2332426 h 2655151"/>
              <a:gd name="connsiteX17" fmla="*/ 0 w 12192001"/>
              <a:gd name="connsiteY17" fmla="*/ 2327645 h 2655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2001" h="2655151">
                <a:moveTo>
                  <a:pt x="0" y="0"/>
                </a:moveTo>
                <a:lnTo>
                  <a:pt x="3" y="0"/>
                </a:lnTo>
                <a:lnTo>
                  <a:pt x="3" y="684"/>
                </a:lnTo>
                <a:lnTo>
                  <a:pt x="12192001" y="684"/>
                </a:lnTo>
                <a:lnTo>
                  <a:pt x="12192001" y="2407911"/>
                </a:lnTo>
                <a:lnTo>
                  <a:pt x="12191530" y="2407919"/>
                </a:lnTo>
                <a:cubicBezTo>
                  <a:pt x="12021090" y="2415907"/>
                  <a:pt x="11822558" y="2440015"/>
                  <a:pt x="11594288" y="2482798"/>
                </a:cubicBezTo>
                <a:cubicBezTo>
                  <a:pt x="9971023" y="2787039"/>
                  <a:pt x="8884607" y="2623170"/>
                  <a:pt x="8040907" y="2486905"/>
                </a:cubicBezTo>
                <a:lnTo>
                  <a:pt x="7786272" y="2448495"/>
                </a:lnTo>
                <a:lnTo>
                  <a:pt x="7777580" y="2445658"/>
                </a:lnTo>
                <a:cubicBezTo>
                  <a:pt x="7400112" y="2345342"/>
                  <a:pt x="6970600" y="2275839"/>
                  <a:pt x="6489657" y="2249648"/>
                </a:cubicBezTo>
                <a:cubicBezTo>
                  <a:pt x="6091638" y="2227973"/>
                  <a:pt x="5658398" y="2235960"/>
                  <a:pt x="5190288" y="2280694"/>
                </a:cubicBezTo>
                <a:cubicBezTo>
                  <a:pt x="5085558" y="2288947"/>
                  <a:pt x="4975260" y="2301404"/>
                  <a:pt x="4860723" y="2317751"/>
                </a:cubicBezTo>
                <a:lnTo>
                  <a:pt x="4637970" y="2355635"/>
                </a:lnTo>
                <a:lnTo>
                  <a:pt x="4481399" y="2371393"/>
                </a:lnTo>
                <a:cubicBezTo>
                  <a:pt x="4391550" y="2383254"/>
                  <a:pt x="4295971" y="2398581"/>
                  <a:pt x="4194516" y="2417596"/>
                </a:cubicBezTo>
                <a:cubicBezTo>
                  <a:pt x="2165435" y="2797896"/>
                  <a:pt x="975184" y="2446774"/>
                  <a:pt x="49281" y="2332426"/>
                </a:cubicBezTo>
                <a:lnTo>
                  <a:pt x="0" y="2327645"/>
                </a:lnTo>
                <a:close/>
              </a:path>
            </a:pathLst>
          </a:custGeom>
          <a:solidFill>
            <a:schemeClr val="bg1">
              <a:lumMod val="85000"/>
            </a:schemeClr>
          </a:solidFill>
        </p:spPr>
        <p:txBody>
          <a:bodyPr wrap="square"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5A0D1FF5-7EF8-4250-A259-43050ABBD3B6}"/>
              </a:ext>
            </a:extLst>
          </p:cNvPr>
          <p:cNvSpPr>
            <a:spLocks noGrp="1"/>
          </p:cNvSpPr>
          <p:nvPr>
            <p:ph type="title"/>
          </p:nvPr>
        </p:nvSpPr>
        <p:spPr>
          <a:xfrm>
            <a:off x="610362" y="1051561"/>
            <a:ext cx="6076188" cy="1325563"/>
          </a:xfrm>
        </p:spPr>
        <p:txBody>
          <a:bodyPr anchor="b">
            <a:noAutofit/>
          </a:bodyPr>
          <a:lstStyle>
            <a:lvl1pPr>
              <a:defRPr sz="36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673DC3A9-D4E6-42CF-91A8-F267C7C66CCB}"/>
              </a:ext>
            </a:extLst>
          </p:cNvPr>
          <p:cNvSpPr>
            <a:spLocks noGrp="1"/>
          </p:cNvSpPr>
          <p:nvPr>
            <p:ph type="body" idx="1"/>
          </p:nvPr>
        </p:nvSpPr>
        <p:spPr>
          <a:xfrm>
            <a:off x="596646" y="3364992"/>
            <a:ext cx="3552444" cy="466344"/>
          </a:xfrm>
        </p:spPr>
        <p:txBody>
          <a:bodyPr anchor="b">
            <a:noAutofit/>
          </a:bodyPr>
          <a:lstStyle>
            <a:lvl1pPr marL="0" indent="0">
              <a:buNone/>
              <a:defRPr sz="1800" b="1">
                <a:latin typeface="Source Sans Pro" panose="020B0503030403020204" pitchFamily="34" charset="0"/>
                <a:ea typeface="Source Sans Pro" panose="020B0503030403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C752CCA9-53A3-4DA5-AD45-C2A2C12A3A6A}"/>
              </a:ext>
            </a:extLst>
          </p:cNvPr>
          <p:cNvSpPr>
            <a:spLocks noGrp="1"/>
          </p:cNvSpPr>
          <p:nvPr>
            <p:ph sz="half" idx="2"/>
          </p:nvPr>
        </p:nvSpPr>
        <p:spPr>
          <a:xfrm>
            <a:off x="596646" y="3877056"/>
            <a:ext cx="3552444" cy="1901952"/>
          </a:xfrm>
        </p:spPr>
        <p:txBody>
          <a:bodyPr>
            <a:noAutofit/>
          </a:bodyPr>
          <a:lstStyle>
            <a:lvl1pPr>
              <a:defRPr sz="1350"/>
            </a:lvl1pPr>
            <a:lvl2pPr>
              <a:defRPr sz="1200"/>
            </a:lvl2pPr>
            <a:lvl3pPr>
              <a:defRPr sz="105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100C9C6-BD61-4D2C-9146-FB785BAE4FF3}"/>
              </a:ext>
            </a:extLst>
          </p:cNvPr>
          <p:cNvSpPr>
            <a:spLocks noGrp="1"/>
          </p:cNvSpPr>
          <p:nvPr>
            <p:ph type="body" sz="quarter" idx="3"/>
          </p:nvPr>
        </p:nvSpPr>
        <p:spPr>
          <a:xfrm>
            <a:off x="4944618" y="3364992"/>
            <a:ext cx="3552444" cy="466344"/>
          </a:xfrm>
        </p:spPr>
        <p:txBody>
          <a:bodyPr anchor="b">
            <a:noAutofit/>
          </a:bodyPr>
          <a:lstStyle>
            <a:lvl1pPr marL="0" indent="0">
              <a:buNone/>
              <a:defRPr sz="1800" b="1">
                <a:latin typeface="Source Sans Pro" panose="020B0503030403020204" pitchFamily="34" charset="0"/>
                <a:ea typeface="Source Sans Pro" panose="020B0503030403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E2E342EE-68BB-484D-98C3-48A7847549D4}"/>
              </a:ext>
            </a:extLst>
          </p:cNvPr>
          <p:cNvSpPr>
            <a:spLocks noGrp="1"/>
          </p:cNvSpPr>
          <p:nvPr>
            <p:ph sz="quarter" idx="4"/>
          </p:nvPr>
        </p:nvSpPr>
        <p:spPr>
          <a:xfrm>
            <a:off x="4944618" y="3877056"/>
            <a:ext cx="3552444" cy="1901952"/>
          </a:xfrm>
        </p:spPr>
        <p:txBody>
          <a:bodyPr>
            <a:noAutofit/>
          </a:bodyPr>
          <a:lstStyle>
            <a:lvl1pPr>
              <a:defRPr sz="1350"/>
            </a:lvl1pPr>
            <a:lvl2pPr>
              <a:defRPr sz="1200"/>
            </a:lvl2pPr>
            <a:lvl3pPr>
              <a:defRPr sz="105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11">
            <a:extLst>
              <a:ext uri="{FF2B5EF4-FFF2-40B4-BE49-F238E27FC236}">
                <a16:creationId xmlns:a16="http://schemas.microsoft.com/office/drawing/2014/main" id="{EE7D252A-6B69-E514-26A6-1C3086E23A8C}"/>
              </a:ext>
            </a:extLst>
          </p:cNvPr>
          <p:cNvSpPr>
            <a:spLocks noGrp="1"/>
          </p:cNvSpPr>
          <p:nvPr>
            <p:ph type="sldNum" sz="quarter" idx="12"/>
          </p:nvPr>
        </p:nvSpPr>
        <p:spPr>
          <a:xfrm>
            <a:off x="8603799" y="6231541"/>
            <a:ext cx="283182" cy="346860"/>
          </a:xfrm>
          <a:custGeom>
            <a:avLst/>
            <a:gdLst>
              <a:gd name="connsiteX0" fmla="*/ 207164 w 377576"/>
              <a:gd name="connsiteY0" fmla="*/ 451 h 346860"/>
              <a:gd name="connsiteX1" fmla="*/ 333607 w 377576"/>
              <a:gd name="connsiteY1" fmla="*/ 282909 h 346860"/>
              <a:gd name="connsiteX2" fmla="*/ 2098 w 377576"/>
              <a:gd name="connsiteY2" fmla="*/ 226361 h 346860"/>
              <a:gd name="connsiteX3" fmla="*/ 207164 w 377576"/>
              <a:gd name="connsiteY3" fmla="*/ 451 h 346860"/>
            </a:gdLst>
            <a:ahLst/>
            <a:cxnLst>
              <a:cxn ang="0">
                <a:pos x="connsiteX0" y="connsiteY0"/>
              </a:cxn>
              <a:cxn ang="0">
                <a:pos x="connsiteX1" y="connsiteY1"/>
              </a:cxn>
              <a:cxn ang="0">
                <a:pos x="connsiteX2" y="connsiteY2"/>
              </a:cxn>
              <a:cxn ang="0">
                <a:pos x="connsiteX3" y="connsiteY3"/>
              </a:cxn>
            </a:cxnLst>
            <a:rect l="l" t="t" r="r" b="b"/>
            <a:pathLst>
              <a:path w="377576" h="346860">
                <a:moveTo>
                  <a:pt x="207164" y="451"/>
                </a:moveTo>
                <a:cubicBezTo>
                  <a:pt x="290586" y="11344"/>
                  <a:pt x="456827" y="130428"/>
                  <a:pt x="333607" y="282909"/>
                </a:cubicBezTo>
                <a:cubicBezTo>
                  <a:pt x="210386" y="435390"/>
                  <a:pt x="23172" y="273437"/>
                  <a:pt x="2098" y="226361"/>
                </a:cubicBezTo>
                <a:cubicBezTo>
                  <a:pt x="-18976" y="179285"/>
                  <a:pt x="123742" y="-10441"/>
                  <a:pt x="207164" y="451"/>
                </a:cubicBezTo>
                <a:close/>
              </a:path>
            </a:pathLst>
          </a:custGeom>
          <a:ln>
            <a:solidFill>
              <a:schemeClr val="accent4"/>
            </a:solidFill>
          </a:ln>
        </p:spPr>
        <p:txBody>
          <a:bodyPr wrap="square">
            <a:noAutofit/>
          </a:bodyPr>
          <a:lstStyle>
            <a:lvl1pPr algn="ctr">
              <a:defRPr/>
            </a:lvl1pPr>
          </a:lstStyle>
          <a:p>
            <a:fld id="{294A09A9-5501-47C1-A89A-A340965A2BE2}" type="slidenum">
              <a:rPr lang="en-US" smtClean="0"/>
              <a:pPr/>
              <a:t>‹#›</a:t>
            </a:fld>
            <a:endParaRPr lang="en-US"/>
          </a:p>
        </p:txBody>
      </p:sp>
      <p:sp>
        <p:nvSpPr>
          <p:cNvPr id="19" name="Footer Placeholder 5">
            <a:extLst>
              <a:ext uri="{FF2B5EF4-FFF2-40B4-BE49-F238E27FC236}">
                <a16:creationId xmlns:a16="http://schemas.microsoft.com/office/drawing/2014/main" id="{50138E35-2473-A805-FD57-ACB7C55EB615}"/>
              </a:ext>
            </a:extLst>
          </p:cNvPr>
          <p:cNvSpPr>
            <a:spLocks noGrp="1"/>
          </p:cNvSpPr>
          <p:nvPr>
            <p:ph type="ftr" sz="quarter" idx="11"/>
          </p:nvPr>
        </p:nvSpPr>
        <p:spPr>
          <a:xfrm>
            <a:off x="294894" y="6281928"/>
            <a:ext cx="1837944" cy="274320"/>
          </a:xfrm>
          <a:prstGeom prst="rect">
            <a:avLst/>
          </a:prstGeom>
        </p:spPr>
        <p:txBody>
          <a:bodyPr>
            <a:noAutofit/>
          </a:bodyPr>
          <a:lstStyle>
            <a:lvl1pPr algn="l">
              <a:defRPr/>
            </a:lvl1pPr>
          </a:lstStyle>
          <a:p>
            <a:r>
              <a:rPr lang="en-US"/>
              <a:t>Contoso grand opening event</a:t>
            </a:r>
          </a:p>
        </p:txBody>
      </p:sp>
    </p:spTree>
    <p:extLst>
      <p:ext uri="{BB962C8B-B14F-4D97-AF65-F5344CB8AC3E}">
        <p14:creationId xmlns:p14="http://schemas.microsoft.com/office/powerpoint/2010/main" val="5778436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BC66C81F-38A6-E13C-358A-CF2B70477129}"/>
              </a:ext>
            </a:extLst>
          </p:cNvPr>
          <p:cNvSpPr/>
          <p:nvPr userDrawn="1"/>
        </p:nvSpPr>
        <p:spPr>
          <a:xfrm>
            <a:off x="669703" y="2088672"/>
            <a:ext cx="1440185" cy="1937932"/>
          </a:xfrm>
          <a:custGeom>
            <a:avLst/>
            <a:gdLst>
              <a:gd name="connsiteX0" fmla="*/ 952167 w 1920247"/>
              <a:gd name="connsiteY0" fmla="*/ 2069 h 1937932"/>
              <a:gd name="connsiteX1" fmla="*/ 1146020 w 1920247"/>
              <a:gd name="connsiteY1" fmla="*/ 28022 h 1937932"/>
              <a:gd name="connsiteX2" fmla="*/ 1729489 w 1920247"/>
              <a:gd name="connsiteY2" fmla="*/ 1846370 h 1937932"/>
              <a:gd name="connsiteX3" fmla="*/ 54139 w 1920247"/>
              <a:gd name="connsiteY3" fmla="*/ 1404954 h 1937932"/>
              <a:gd name="connsiteX4" fmla="*/ 952167 w 1920247"/>
              <a:gd name="connsiteY4" fmla="*/ 2069 h 19379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0247" h="1937932">
                <a:moveTo>
                  <a:pt x="952167" y="2069"/>
                </a:moveTo>
                <a:cubicBezTo>
                  <a:pt x="1013263" y="5702"/>
                  <a:pt x="1077832" y="14185"/>
                  <a:pt x="1146020" y="28022"/>
                </a:cubicBezTo>
                <a:cubicBezTo>
                  <a:pt x="2237027" y="249423"/>
                  <a:pt x="1911469" y="1616882"/>
                  <a:pt x="1729489" y="1846370"/>
                </a:cubicBezTo>
                <a:cubicBezTo>
                  <a:pt x="1547508" y="2075859"/>
                  <a:pt x="217779" y="1853787"/>
                  <a:pt x="54139" y="1404954"/>
                </a:cubicBezTo>
                <a:cubicBezTo>
                  <a:pt x="-99274" y="984173"/>
                  <a:pt x="35730" y="-52428"/>
                  <a:pt x="952167" y="2069"/>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9" name="Freeform: Shape 18">
            <a:extLst>
              <a:ext uri="{FF2B5EF4-FFF2-40B4-BE49-F238E27FC236}">
                <a16:creationId xmlns:a16="http://schemas.microsoft.com/office/drawing/2014/main" id="{353563E9-0102-A23C-8C56-17D20889363C}"/>
              </a:ext>
            </a:extLst>
          </p:cNvPr>
          <p:cNvSpPr/>
          <p:nvPr userDrawn="1"/>
        </p:nvSpPr>
        <p:spPr>
          <a:xfrm>
            <a:off x="2923200" y="2226588"/>
            <a:ext cx="1439456" cy="1896766"/>
          </a:xfrm>
          <a:custGeom>
            <a:avLst/>
            <a:gdLst>
              <a:gd name="connsiteX0" fmla="*/ 950195 w 1919274"/>
              <a:gd name="connsiteY0" fmla="*/ 709 h 1896766"/>
              <a:gd name="connsiteX1" fmla="*/ 1832169 w 1919274"/>
              <a:gd name="connsiteY1" fmla="*/ 1069588 h 1896766"/>
              <a:gd name="connsiteX2" fmla="*/ 124282 w 1919274"/>
              <a:gd name="connsiteY2" fmla="*/ 1639242 h 1896766"/>
              <a:gd name="connsiteX3" fmla="*/ 764475 w 1919274"/>
              <a:gd name="connsiteY3" fmla="*/ 8116 h 1896766"/>
              <a:gd name="connsiteX4" fmla="*/ 950195 w 1919274"/>
              <a:gd name="connsiteY4" fmla="*/ 709 h 1896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274" h="1896766">
                <a:moveTo>
                  <a:pt x="950195" y="709"/>
                </a:moveTo>
                <a:cubicBezTo>
                  <a:pt x="1430402" y="15667"/>
                  <a:pt x="2174361" y="270758"/>
                  <a:pt x="1832169" y="1069588"/>
                </a:cubicBezTo>
                <a:cubicBezTo>
                  <a:pt x="1441093" y="1982536"/>
                  <a:pt x="509480" y="2087618"/>
                  <a:pt x="124282" y="1639242"/>
                </a:cubicBezTo>
                <a:cubicBezTo>
                  <a:pt x="-260916" y="1190866"/>
                  <a:pt x="333275" y="62351"/>
                  <a:pt x="764475" y="8116"/>
                </a:cubicBezTo>
                <a:cubicBezTo>
                  <a:pt x="818375" y="1336"/>
                  <a:pt x="881594" y="-1428"/>
                  <a:pt x="950195" y="709"/>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0" name="Freeform: Shape 19">
            <a:extLst>
              <a:ext uri="{FF2B5EF4-FFF2-40B4-BE49-F238E27FC236}">
                <a16:creationId xmlns:a16="http://schemas.microsoft.com/office/drawing/2014/main" id="{C4834079-129A-663C-2867-3DC3792C59A0}"/>
              </a:ext>
            </a:extLst>
          </p:cNvPr>
          <p:cNvSpPr/>
          <p:nvPr userDrawn="1"/>
        </p:nvSpPr>
        <p:spPr>
          <a:xfrm>
            <a:off x="4850974" y="2074736"/>
            <a:ext cx="1450662" cy="2008138"/>
          </a:xfrm>
          <a:custGeom>
            <a:avLst/>
            <a:gdLst>
              <a:gd name="connsiteX0" fmla="*/ 1176955 w 1934216"/>
              <a:gd name="connsiteY0" fmla="*/ 963 h 2008138"/>
              <a:gd name="connsiteX1" fmla="*/ 1467457 w 1934216"/>
              <a:gd name="connsiteY1" fmla="*/ 78222 h 2008138"/>
              <a:gd name="connsiteX2" fmla="*/ 1799669 w 1934216"/>
              <a:gd name="connsiteY2" fmla="*/ 1496056 h 2008138"/>
              <a:gd name="connsiteX3" fmla="*/ 471237 w 1934216"/>
              <a:gd name="connsiteY3" fmla="*/ 1889092 h 2008138"/>
              <a:gd name="connsiteX4" fmla="*/ 78202 w 1934216"/>
              <a:gd name="connsiteY4" fmla="*/ 560659 h 2008138"/>
              <a:gd name="connsiteX5" fmla="*/ 1176955 w 1934216"/>
              <a:gd name="connsiteY5" fmla="*/ 963 h 200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4216" h="2008138">
                <a:moveTo>
                  <a:pt x="1176955" y="963"/>
                </a:moveTo>
                <a:cubicBezTo>
                  <a:pt x="1279614" y="5871"/>
                  <a:pt x="1378325" y="29790"/>
                  <a:pt x="1467457" y="78222"/>
                </a:cubicBezTo>
                <a:cubicBezTo>
                  <a:pt x="1942827" y="336525"/>
                  <a:pt x="2057971" y="1020686"/>
                  <a:pt x="1799669" y="1496056"/>
                </a:cubicBezTo>
                <a:cubicBezTo>
                  <a:pt x="1541366" y="1971426"/>
                  <a:pt x="946607" y="2147394"/>
                  <a:pt x="471237" y="1889092"/>
                </a:cubicBezTo>
                <a:cubicBezTo>
                  <a:pt x="-4133" y="1630789"/>
                  <a:pt x="-87835" y="862471"/>
                  <a:pt x="78202" y="560659"/>
                </a:cubicBezTo>
                <a:cubicBezTo>
                  <a:pt x="213106" y="315438"/>
                  <a:pt x="732098" y="-20303"/>
                  <a:pt x="1176955" y="963"/>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1" name="Freeform: Shape 20">
            <a:extLst>
              <a:ext uri="{FF2B5EF4-FFF2-40B4-BE49-F238E27FC236}">
                <a16:creationId xmlns:a16="http://schemas.microsoft.com/office/drawing/2014/main" id="{350E1CC6-A15E-1B79-5BB9-92C764498AC6}"/>
              </a:ext>
            </a:extLst>
          </p:cNvPr>
          <p:cNvSpPr/>
          <p:nvPr userDrawn="1"/>
        </p:nvSpPr>
        <p:spPr>
          <a:xfrm>
            <a:off x="7012758" y="2088797"/>
            <a:ext cx="1455191" cy="1874587"/>
          </a:xfrm>
          <a:custGeom>
            <a:avLst/>
            <a:gdLst>
              <a:gd name="connsiteX0" fmla="*/ 769429 w 1940255"/>
              <a:gd name="connsiteY0" fmla="*/ 1 h 1874587"/>
              <a:gd name="connsiteX1" fmla="*/ 1809595 w 1940255"/>
              <a:gd name="connsiteY1" fmla="*/ 336815 h 1874587"/>
              <a:gd name="connsiteX2" fmla="*/ 957221 w 1940255"/>
              <a:gd name="connsiteY2" fmla="*/ 1873566 h 1874587"/>
              <a:gd name="connsiteX3" fmla="*/ 84652 w 1940255"/>
              <a:gd name="connsiteY3" fmla="*/ 174906 h 1874587"/>
              <a:gd name="connsiteX4" fmla="*/ 769429 w 1940255"/>
              <a:gd name="connsiteY4" fmla="*/ 1 h 18745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0255" h="1874587">
                <a:moveTo>
                  <a:pt x="769429" y="1"/>
                </a:moveTo>
                <a:cubicBezTo>
                  <a:pt x="1193227" y="-246"/>
                  <a:pt x="1677555" y="102767"/>
                  <a:pt x="1809595" y="336815"/>
                </a:cubicBezTo>
                <a:cubicBezTo>
                  <a:pt x="2044333" y="752901"/>
                  <a:pt x="2069738" y="1913836"/>
                  <a:pt x="957221" y="1873566"/>
                </a:cubicBezTo>
                <a:cubicBezTo>
                  <a:pt x="-155296" y="1833297"/>
                  <a:pt x="-57411" y="431031"/>
                  <a:pt x="84652" y="174906"/>
                </a:cubicBezTo>
                <a:cubicBezTo>
                  <a:pt x="146804" y="62851"/>
                  <a:pt x="439808" y="193"/>
                  <a:pt x="769429" y="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 name="Title 1">
            <a:extLst>
              <a:ext uri="{FF2B5EF4-FFF2-40B4-BE49-F238E27FC236}">
                <a16:creationId xmlns:a16="http://schemas.microsoft.com/office/drawing/2014/main" id="{93208EE5-3D2D-AD91-3E4D-4F853F8DB433}"/>
              </a:ext>
            </a:extLst>
          </p:cNvPr>
          <p:cNvSpPr>
            <a:spLocks noGrp="1"/>
          </p:cNvSpPr>
          <p:nvPr>
            <p:ph type="title"/>
          </p:nvPr>
        </p:nvSpPr>
        <p:spPr/>
        <p:txBody>
          <a:bodyPr>
            <a:noAutofit/>
          </a:bodyPr>
          <a:lstStyle>
            <a:lvl1pPr algn="ctr">
              <a:defRPr/>
            </a:lvl1pPr>
          </a:lstStyle>
          <a:p>
            <a:r>
              <a:rPr lang="en-US"/>
              <a:t>Click to edit Master title style</a:t>
            </a:r>
          </a:p>
        </p:txBody>
      </p:sp>
      <p:sp>
        <p:nvSpPr>
          <p:cNvPr id="35" name="Picture Placeholder 34">
            <a:extLst>
              <a:ext uri="{FF2B5EF4-FFF2-40B4-BE49-F238E27FC236}">
                <a16:creationId xmlns:a16="http://schemas.microsoft.com/office/drawing/2014/main" id="{6EB68C9D-2145-4CC0-9F00-198AA56E3882}"/>
              </a:ext>
            </a:extLst>
          </p:cNvPr>
          <p:cNvSpPr>
            <a:spLocks noGrp="1"/>
          </p:cNvSpPr>
          <p:nvPr>
            <p:ph type="pic" sz="quarter" idx="13"/>
          </p:nvPr>
        </p:nvSpPr>
        <p:spPr>
          <a:xfrm>
            <a:off x="727541" y="2205434"/>
            <a:ext cx="1440180" cy="2028271"/>
          </a:xfrm>
          <a:custGeom>
            <a:avLst/>
            <a:gdLst>
              <a:gd name="connsiteX0" fmla="*/ 998505 w 1920240"/>
              <a:gd name="connsiteY0" fmla="*/ 0 h 2028271"/>
              <a:gd name="connsiteX1" fmla="*/ 1920240 w 1920240"/>
              <a:gd name="connsiteY1" fmla="*/ 1014136 h 2028271"/>
              <a:gd name="connsiteX2" fmla="*/ 998505 w 1920240"/>
              <a:gd name="connsiteY2" fmla="*/ 2028271 h 2028271"/>
              <a:gd name="connsiteX3" fmla="*/ 0 w 1920240"/>
              <a:gd name="connsiteY3" fmla="*/ 1014136 h 2028271"/>
              <a:gd name="connsiteX4" fmla="*/ 998505 w 1920240"/>
              <a:gd name="connsiteY4" fmla="*/ 0 h 2028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0240" h="2028271">
                <a:moveTo>
                  <a:pt x="998505" y="0"/>
                </a:moveTo>
                <a:cubicBezTo>
                  <a:pt x="1318545" y="0"/>
                  <a:pt x="1920240" y="454044"/>
                  <a:pt x="1920240" y="1014136"/>
                </a:cubicBezTo>
                <a:cubicBezTo>
                  <a:pt x="1920240" y="1574227"/>
                  <a:pt x="1318545" y="2028271"/>
                  <a:pt x="998505" y="2028271"/>
                </a:cubicBezTo>
                <a:cubicBezTo>
                  <a:pt x="678465" y="2028271"/>
                  <a:pt x="0" y="1719031"/>
                  <a:pt x="0" y="1014136"/>
                </a:cubicBezTo>
                <a:cubicBezTo>
                  <a:pt x="0" y="309240"/>
                  <a:pt x="678465" y="0"/>
                  <a:pt x="998505" y="0"/>
                </a:cubicBezTo>
                <a:close/>
              </a:path>
            </a:pathLst>
          </a:custGeom>
          <a:solidFill>
            <a:schemeClr val="bg1">
              <a:lumMod val="85000"/>
            </a:schemeClr>
          </a:solidFill>
        </p:spPr>
        <p:txBody>
          <a:bodyPr wrap="square" anchor="ctr">
            <a:noAutofit/>
          </a:bodyPr>
          <a:lstStyle>
            <a:lvl1pPr marL="0" indent="0" algn="ctr">
              <a:buNone/>
              <a:defRPr sz="1350"/>
            </a:lvl1pPr>
          </a:lstStyle>
          <a:p>
            <a:r>
              <a:rPr lang="en-US"/>
              <a:t>Click icon to add picture</a:t>
            </a:r>
          </a:p>
        </p:txBody>
      </p:sp>
      <p:sp>
        <p:nvSpPr>
          <p:cNvPr id="36" name="Picture Placeholder 35">
            <a:extLst>
              <a:ext uri="{FF2B5EF4-FFF2-40B4-BE49-F238E27FC236}">
                <a16:creationId xmlns:a16="http://schemas.microsoft.com/office/drawing/2014/main" id="{974C254A-D1C1-7C23-7A97-D08B5EF74FC5}"/>
              </a:ext>
            </a:extLst>
          </p:cNvPr>
          <p:cNvSpPr>
            <a:spLocks noGrp="1"/>
          </p:cNvSpPr>
          <p:nvPr>
            <p:ph type="pic" sz="quarter" idx="14"/>
          </p:nvPr>
        </p:nvSpPr>
        <p:spPr>
          <a:xfrm>
            <a:off x="2757243" y="2178389"/>
            <a:ext cx="1514376" cy="1860145"/>
          </a:xfrm>
          <a:custGeom>
            <a:avLst/>
            <a:gdLst>
              <a:gd name="connsiteX0" fmla="*/ 1075463 w 2019168"/>
              <a:gd name="connsiteY0" fmla="*/ 1079 h 1860145"/>
              <a:gd name="connsiteX1" fmla="*/ 1370094 w 2019168"/>
              <a:gd name="connsiteY1" fmla="*/ 51869 h 1860145"/>
              <a:gd name="connsiteX2" fmla="*/ 1707509 w 2019168"/>
              <a:gd name="connsiteY2" fmla="*/ 1715406 h 1860145"/>
              <a:gd name="connsiteX3" fmla="*/ 2089 w 2019168"/>
              <a:gd name="connsiteY3" fmla="*/ 1133186 h 1860145"/>
              <a:gd name="connsiteX4" fmla="*/ 1075463 w 2019168"/>
              <a:gd name="connsiteY4" fmla="*/ 1079 h 18601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9168" h="1860145">
                <a:moveTo>
                  <a:pt x="1075463" y="1079"/>
                </a:moveTo>
                <a:cubicBezTo>
                  <a:pt x="1169679" y="5250"/>
                  <a:pt x="1268160" y="21623"/>
                  <a:pt x="1370094" y="51869"/>
                </a:cubicBezTo>
                <a:cubicBezTo>
                  <a:pt x="2028402" y="250981"/>
                  <a:pt x="2264123" y="1392311"/>
                  <a:pt x="1707509" y="1715406"/>
                </a:cubicBezTo>
                <a:cubicBezTo>
                  <a:pt x="1150895" y="2038501"/>
                  <a:pt x="44037" y="1810492"/>
                  <a:pt x="2089" y="1133186"/>
                </a:cubicBezTo>
                <a:cubicBezTo>
                  <a:pt x="-34615" y="540543"/>
                  <a:pt x="415947" y="-28120"/>
                  <a:pt x="1075463" y="1079"/>
                </a:cubicBezTo>
                <a:close/>
              </a:path>
            </a:pathLst>
          </a:custGeom>
          <a:solidFill>
            <a:schemeClr val="bg1">
              <a:lumMod val="85000"/>
            </a:schemeClr>
          </a:solidFill>
        </p:spPr>
        <p:txBody>
          <a:bodyPr wrap="square" anchor="ctr">
            <a:noAutofit/>
          </a:bodyPr>
          <a:lstStyle>
            <a:lvl1pPr marL="0" indent="0" algn="ctr">
              <a:buNone/>
              <a:defRPr sz="1350"/>
            </a:lvl1pPr>
          </a:lstStyle>
          <a:p>
            <a:r>
              <a:rPr lang="en-US"/>
              <a:t>Click icon to add picture</a:t>
            </a:r>
          </a:p>
        </p:txBody>
      </p:sp>
      <p:sp>
        <p:nvSpPr>
          <p:cNvPr id="37" name="Picture Placeholder 36">
            <a:extLst>
              <a:ext uri="{FF2B5EF4-FFF2-40B4-BE49-F238E27FC236}">
                <a16:creationId xmlns:a16="http://schemas.microsoft.com/office/drawing/2014/main" id="{FD22F399-84EB-DA43-D72E-972541FA68AC}"/>
              </a:ext>
            </a:extLst>
          </p:cNvPr>
          <p:cNvSpPr>
            <a:spLocks noGrp="1"/>
          </p:cNvSpPr>
          <p:nvPr>
            <p:ph type="pic" sz="quarter" idx="15"/>
          </p:nvPr>
        </p:nvSpPr>
        <p:spPr>
          <a:xfrm>
            <a:off x="4889156" y="2140559"/>
            <a:ext cx="1469395" cy="2066782"/>
          </a:xfrm>
          <a:custGeom>
            <a:avLst/>
            <a:gdLst>
              <a:gd name="connsiteX0" fmla="*/ 990359 w 1959193"/>
              <a:gd name="connsiteY0" fmla="*/ 0 h 2066782"/>
              <a:gd name="connsiteX1" fmla="*/ 1959193 w 1959193"/>
              <a:gd name="connsiteY1" fmla="*/ 1087188 h 2066782"/>
              <a:gd name="connsiteX2" fmla="*/ 979599 w 1959193"/>
              <a:gd name="connsiteY2" fmla="*/ 2066782 h 2066782"/>
              <a:gd name="connsiteX3" fmla="*/ 6 w 1959193"/>
              <a:gd name="connsiteY3" fmla="*/ 1087188 h 2066782"/>
              <a:gd name="connsiteX4" fmla="*/ 990359 w 1959193"/>
              <a:gd name="connsiteY4" fmla="*/ 0 h 206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9193" h="2066782">
                <a:moveTo>
                  <a:pt x="990359" y="0"/>
                </a:moveTo>
                <a:cubicBezTo>
                  <a:pt x="1531373" y="0"/>
                  <a:pt x="1959193" y="546173"/>
                  <a:pt x="1959193" y="1087188"/>
                </a:cubicBezTo>
                <a:cubicBezTo>
                  <a:pt x="1959193" y="1628203"/>
                  <a:pt x="1520614" y="2066782"/>
                  <a:pt x="979599" y="2066782"/>
                </a:cubicBezTo>
                <a:cubicBezTo>
                  <a:pt x="438585" y="2066782"/>
                  <a:pt x="-1787" y="1431651"/>
                  <a:pt x="6" y="1087188"/>
                </a:cubicBezTo>
                <a:cubicBezTo>
                  <a:pt x="1798" y="742725"/>
                  <a:pt x="449344" y="0"/>
                  <a:pt x="990359" y="0"/>
                </a:cubicBezTo>
                <a:close/>
              </a:path>
            </a:pathLst>
          </a:custGeom>
          <a:solidFill>
            <a:schemeClr val="bg1">
              <a:lumMod val="85000"/>
            </a:schemeClr>
          </a:solidFill>
        </p:spPr>
        <p:txBody>
          <a:bodyPr wrap="square" anchor="ctr">
            <a:noAutofit/>
          </a:bodyPr>
          <a:lstStyle>
            <a:lvl1pPr marL="0" indent="0" algn="ctr">
              <a:buNone/>
              <a:defRPr sz="1350"/>
            </a:lvl1pPr>
          </a:lstStyle>
          <a:p>
            <a:r>
              <a:rPr lang="en-US"/>
              <a:t>Click icon to add picture</a:t>
            </a:r>
          </a:p>
        </p:txBody>
      </p:sp>
      <p:sp>
        <p:nvSpPr>
          <p:cNvPr id="38" name="Picture Placeholder 37">
            <a:extLst>
              <a:ext uri="{FF2B5EF4-FFF2-40B4-BE49-F238E27FC236}">
                <a16:creationId xmlns:a16="http://schemas.microsoft.com/office/drawing/2014/main" id="{293D7505-3D5F-5EC7-DA15-D6C2DF6E286A}"/>
              </a:ext>
            </a:extLst>
          </p:cNvPr>
          <p:cNvSpPr>
            <a:spLocks noGrp="1"/>
          </p:cNvSpPr>
          <p:nvPr>
            <p:ph type="pic" sz="quarter" idx="16"/>
          </p:nvPr>
        </p:nvSpPr>
        <p:spPr>
          <a:xfrm>
            <a:off x="6915082" y="2140559"/>
            <a:ext cx="1622750" cy="2014651"/>
          </a:xfrm>
          <a:custGeom>
            <a:avLst/>
            <a:gdLst>
              <a:gd name="connsiteX0" fmla="*/ 1273408 w 2163666"/>
              <a:gd name="connsiteY0" fmla="*/ 2029 h 2014651"/>
              <a:gd name="connsiteX1" fmla="*/ 1364459 w 2163666"/>
              <a:gd name="connsiteY1" fmla="*/ 19243 h 2014651"/>
              <a:gd name="connsiteX2" fmla="*/ 1803584 w 2163666"/>
              <a:gd name="connsiteY2" fmla="*/ 1720806 h 2014651"/>
              <a:gd name="connsiteX3" fmla="*/ 1517 w 2163666"/>
              <a:gd name="connsiteY3" fmla="*/ 1088839 h 2014651"/>
              <a:gd name="connsiteX4" fmla="*/ 1273408 w 2163666"/>
              <a:gd name="connsiteY4" fmla="*/ 2029 h 20146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3666" h="2014651">
                <a:moveTo>
                  <a:pt x="1273408" y="2029"/>
                </a:moveTo>
                <a:cubicBezTo>
                  <a:pt x="1305447" y="4806"/>
                  <a:pt x="1335918" y="10472"/>
                  <a:pt x="1364459" y="19243"/>
                </a:cubicBezTo>
                <a:cubicBezTo>
                  <a:pt x="1821112" y="159590"/>
                  <a:pt x="2638474" y="984414"/>
                  <a:pt x="1803584" y="1720806"/>
                </a:cubicBezTo>
                <a:cubicBezTo>
                  <a:pt x="968693" y="2457198"/>
                  <a:pt x="46130" y="1643895"/>
                  <a:pt x="1517" y="1088839"/>
                </a:cubicBezTo>
                <a:cubicBezTo>
                  <a:pt x="-40307" y="568475"/>
                  <a:pt x="792832" y="-39632"/>
                  <a:pt x="1273408" y="2029"/>
                </a:cubicBezTo>
                <a:close/>
              </a:path>
            </a:pathLst>
          </a:custGeom>
          <a:solidFill>
            <a:schemeClr val="bg1">
              <a:lumMod val="85000"/>
            </a:schemeClr>
          </a:solidFill>
        </p:spPr>
        <p:txBody>
          <a:bodyPr wrap="square" anchor="ctr">
            <a:noAutofit/>
          </a:bodyPr>
          <a:lstStyle>
            <a:lvl1pPr marL="0" indent="0" algn="ctr">
              <a:buNone/>
              <a:defRPr sz="1350"/>
            </a:lvl1pPr>
          </a:lstStyle>
          <a:p>
            <a:r>
              <a:rPr lang="en-US"/>
              <a:t>Click icon to add picture</a:t>
            </a:r>
          </a:p>
        </p:txBody>
      </p:sp>
      <p:sp>
        <p:nvSpPr>
          <p:cNvPr id="40" name="Text Placeholder 39">
            <a:extLst>
              <a:ext uri="{FF2B5EF4-FFF2-40B4-BE49-F238E27FC236}">
                <a16:creationId xmlns:a16="http://schemas.microsoft.com/office/drawing/2014/main" id="{95D410CB-8838-F5FE-B127-40EB466A162F}"/>
              </a:ext>
            </a:extLst>
          </p:cNvPr>
          <p:cNvSpPr>
            <a:spLocks noGrp="1"/>
          </p:cNvSpPr>
          <p:nvPr>
            <p:ph type="body" sz="quarter" idx="17"/>
          </p:nvPr>
        </p:nvSpPr>
        <p:spPr>
          <a:xfrm>
            <a:off x="521801" y="4507992"/>
            <a:ext cx="1851660" cy="365760"/>
          </a:xfrm>
        </p:spPr>
        <p:txBody>
          <a:bodyPr anchor="ctr">
            <a:noAutofit/>
          </a:bodyPr>
          <a:lstStyle>
            <a:lvl1pPr marL="0" indent="0" algn="ctr">
              <a:lnSpc>
                <a:spcPct val="100000"/>
              </a:lnSpc>
              <a:buNone/>
              <a:defRPr sz="135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41" name="Text Placeholder 39">
            <a:extLst>
              <a:ext uri="{FF2B5EF4-FFF2-40B4-BE49-F238E27FC236}">
                <a16:creationId xmlns:a16="http://schemas.microsoft.com/office/drawing/2014/main" id="{4AB9408A-B6CD-B62B-A40C-113C980EF1FE}"/>
              </a:ext>
            </a:extLst>
          </p:cNvPr>
          <p:cNvSpPr>
            <a:spLocks noGrp="1"/>
          </p:cNvSpPr>
          <p:nvPr>
            <p:ph type="body" sz="quarter" idx="18"/>
          </p:nvPr>
        </p:nvSpPr>
        <p:spPr>
          <a:xfrm>
            <a:off x="2588601" y="4507992"/>
            <a:ext cx="1851660" cy="365760"/>
          </a:xfrm>
        </p:spPr>
        <p:txBody>
          <a:bodyPr anchor="ctr">
            <a:noAutofit/>
          </a:bodyPr>
          <a:lstStyle>
            <a:lvl1pPr marL="0" indent="0" algn="ctr">
              <a:lnSpc>
                <a:spcPct val="100000"/>
              </a:lnSpc>
              <a:buNone/>
              <a:defRPr sz="135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42" name="Text Placeholder 39">
            <a:extLst>
              <a:ext uri="{FF2B5EF4-FFF2-40B4-BE49-F238E27FC236}">
                <a16:creationId xmlns:a16="http://schemas.microsoft.com/office/drawing/2014/main" id="{61463C70-6782-0D6E-7762-61E567762645}"/>
              </a:ext>
            </a:extLst>
          </p:cNvPr>
          <p:cNvSpPr>
            <a:spLocks noGrp="1"/>
          </p:cNvSpPr>
          <p:nvPr>
            <p:ph type="body" sz="quarter" idx="19"/>
          </p:nvPr>
        </p:nvSpPr>
        <p:spPr>
          <a:xfrm>
            <a:off x="4698023" y="4507992"/>
            <a:ext cx="1851660" cy="365760"/>
          </a:xfrm>
        </p:spPr>
        <p:txBody>
          <a:bodyPr anchor="ctr">
            <a:noAutofit/>
          </a:bodyPr>
          <a:lstStyle>
            <a:lvl1pPr marL="0" indent="0" algn="ctr">
              <a:lnSpc>
                <a:spcPct val="100000"/>
              </a:lnSpc>
              <a:buNone/>
              <a:defRPr sz="135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43" name="Text Placeholder 39">
            <a:extLst>
              <a:ext uri="{FF2B5EF4-FFF2-40B4-BE49-F238E27FC236}">
                <a16:creationId xmlns:a16="http://schemas.microsoft.com/office/drawing/2014/main" id="{E4A9BFDF-CD6B-DB2B-93AB-335CC2AE455B}"/>
              </a:ext>
            </a:extLst>
          </p:cNvPr>
          <p:cNvSpPr>
            <a:spLocks noGrp="1"/>
          </p:cNvSpPr>
          <p:nvPr>
            <p:ph type="body" sz="quarter" idx="20"/>
          </p:nvPr>
        </p:nvSpPr>
        <p:spPr>
          <a:xfrm>
            <a:off x="6800627" y="4507992"/>
            <a:ext cx="1851660" cy="365760"/>
          </a:xfrm>
        </p:spPr>
        <p:txBody>
          <a:bodyPr anchor="ctr">
            <a:noAutofit/>
          </a:bodyPr>
          <a:lstStyle>
            <a:lvl1pPr marL="0" indent="0" algn="ctr">
              <a:lnSpc>
                <a:spcPct val="100000"/>
              </a:lnSpc>
              <a:buNone/>
              <a:defRPr sz="135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44" name="Text Placeholder 39">
            <a:extLst>
              <a:ext uri="{FF2B5EF4-FFF2-40B4-BE49-F238E27FC236}">
                <a16:creationId xmlns:a16="http://schemas.microsoft.com/office/drawing/2014/main" id="{D4374427-D19A-E579-3D78-7A08CED4EE8A}"/>
              </a:ext>
            </a:extLst>
          </p:cNvPr>
          <p:cNvSpPr>
            <a:spLocks noGrp="1"/>
          </p:cNvSpPr>
          <p:nvPr>
            <p:ph type="body" sz="quarter" idx="21"/>
          </p:nvPr>
        </p:nvSpPr>
        <p:spPr>
          <a:xfrm>
            <a:off x="521801" y="4901184"/>
            <a:ext cx="1851660" cy="365760"/>
          </a:xfrm>
        </p:spPr>
        <p:txBody>
          <a:bodyPr anchor="ctr">
            <a:noAutofit/>
          </a:bodyPr>
          <a:lstStyle>
            <a:lvl1pPr marL="0" indent="0" algn="ctr">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45" name="Text Placeholder 39">
            <a:extLst>
              <a:ext uri="{FF2B5EF4-FFF2-40B4-BE49-F238E27FC236}">
                <a16:creationId xmlns:a16="http://schemas.microsoft.com/office/drawing/2014/main" id="{1F400EB7-1FDE-3683-C9B4-63413EE5EA48}"/>
              </a:ext>
            </a:extLst>
          </p:cNvPr>
          <p:cNvSpPr>
            <a:spLocks noGrp="1"/>
          </p:cNvSpPr>
          <p:nvPr>
            <p:ph type="body" sz="quarter" idx="22"/>
          </p:nvPr>
        </p:nvSpPr>
        <p:spPr>
          <a:xfrm>
            <a:off x="2588601" y="4901184"/>
            <a:ext cx="1851660" cy="365760"/>
          </a:xfrm>
        </p:spPr>
        <p:txBody>
          <a:bodyPr anchor="ctr">
            <a:noAutofit/>
          </a:bodyPr>
          <a:lstStyle>
            <a:lvl1pPr marL="0" indent="0" algn="ctr">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46" name="Text Placeholder 39">
            <a:extLst>
              <a:ext uri="{FF2B5EF4-FFF2-40B4-BE49-F238E27FC236}">
                <a16:creationId xmlns:a16="http://schemas.microsoft.com/office/drawing/2014/main" id="{5D8F7F98-168C-5B0E-F2F8-A4AD7BA597D2}"/>
              </a:ext>
            </a:extLst>
          </p:cNvPr>
          <p:cNvSpPr>
            <a:spLocks noGrp="1"/>
          </p:cNvSpPr>
          <p:nvPr>
            <p:ph type="body" sz="quarter" idx="23"/>
          </p:nvPr>
        </p:nvSpPr>
        <p:spPr>
          <a:xfrm>
            <a:off x="4698023" y="4901184"/>
            <a:ext cx="1851660" cy="365760"/>
          </a:xfrm>
        </p:spPr>
        <p:txBody>
          <a:bodyPr anchor="ctr">
            <a:noAutofit/>
          </a:bodyPr>
          <a:lstStyle>
            <a:lvl1pPr marL="0" indent="0" algn="ctr">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47" name="Text Placeholder 39">
            <a:extLst>
              <a:ext uri="{FF2B5EF4-FFF2-40B4-BE49-F238E27FC236}">
                <a16:creationId xmlns:a16="http://schemas.microsoft.com/office/drawing/2014/main" id="{C5A299EB-BF79-F241-A67B-AD318037BB55}"/>
              </a:ext>
            </a:extLst>
          </p:cNvPr>
          <p:cNvSpPr>
            <a:spLocks noGrp="1"/>
          </p:cNvSpPr>
          <p:nvPr>
            <p:ph type="body" sz="quarter" idx="24"/>
          </p:nvPr>
        </p:nvSpPr>
        <p:spPr>
          <a:xfrm>
            <a:off x="6800627" y="4901184"/>
            <a:ext cx="1851660" cy="365760"/>
          </a:xfrm>
        </p:spPr>
        <p:txBody>
          <a:bodyPr anchor="ctr">
            <a:noAutofit/>
          </a:bodyPr>
          <a:lstStyle>
            <a:lvl1pPr marL="0" indent="0" algn="ctr">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48" name="Slide Number Placeholder 47">
            <a:extLst>
              <a:ext uri="{FF2B5EF4-FFF2-40B4-BE49-F238E27FC236}">
                <a16:creationId xmlns:a16="http://schemas.microsoft.com/office/drawing/2014/main" id="{B6BC38C4-7EDF-0398-884C-F604FCF79ABE}"/>
              </a:ext>
            </a:extLst>
          </p:cNvPr>
          <p:cNvSpPr>
            <a:spLocks noGrp="1"/>
          </p:cNvSpPr>
          <p:nvPr>
            <p:ph type="sldNum" sz="quarter" idx="12"/>
          </p:nvPr>
        </p:nvSpPr>
        <p:spPr>
          <a:xfrm>
            <a:off x="8620295" y="6232422"/>
            <a:ext cx="263185" cy="338960"/>
          </a:xfrm>
          <a:custGeom>
            <a:avLst/>
            <a:gdLst>
              <a:gd name="connsiteX0" fmla="*/ 154845 w 350913"/>
              <a:gd name="connsiteY0" fmla="*/ 22 h 338960"/>
              <a:gd name="connsiteX1" fmla="*/ 340005 w 350913"/>
              <a:gd name="connsiteY1" fmla="*/ 221278 h 338960"/>
              <a:gd name="connsiteX2" fmla="*/ 10634 w 350913"/>
              <a:gd name="connsiteY2" fmla="*/ 289178 h 338960"/>
              <a:gd name="connsiteX3" fmla="*/ 119488 w 350913"/>
              <a:gd name="connsiteY3" fmla="*/ 4155 h 338960"/>
              <a:gd name="connsiteX4" fmla="*/ 154845 w 350913"/>
              <a:gd name="connsiteY4" fmla="*/ 22 h 338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13" h="338960">
                <a:moveTo>
                  <a:pt x="154845" y="22"/>
                </a:moveTo>
                <a:cubicBezTo>
                  <a:pt x="246677" y="-1293"/>
                  <a:pt x="391912" y="57780"/>
                  <a:pt x="340005" y="221278"/>
                </a:cubicBezTo>
                <a:cubicBezTo>
                  <a:pt x="280684" y="408133"/>
                  <a:pt x="47387" y="325365"/>
                  <a:pt x="10634" y="289178"/>
                </a:cubicBezTo>
                <a:cubicBezTo>
                  <a:pt x="-26119" y="252991"/>
                  <a:pt x="37818" y="24351"/>
                  <a:pt x="119488" y="4155"/>
                </a:cubicBezTo>
                <a:cubicBezTo>
                  <a:pt x="129697" y="1631"/>
                  <a:pt x="141726" y="210"/>
                  <a:pt x="154845" y="22"/>
                </a:cubicBezTo>
                <a:close/>
              </a:path>
            </a:pathLst>
          </a:custGeom>
          <a:ln>
            <a:solidFill>
              <a:schemeClr val="accent4"/>
            </a:solidFill>
          </a:ln>
        </p:spPr>
        <p:txBody>
          <a:bodyPr wrap="square">
            <a:noAutofit/>
          </a:bodyPr>
          <a:lstStyle>
            <a:lvl1pPr algn="ctr">
              <a:defRPr/>
            </a:lvl1pPr>
          </a:lstStyle>
          <a:p>
            <a:fld id="{294A09A9-5501-47C1-A89A-A340965A2BE2}" type="slidenum">
              <a:rPr lang="en-US" smtClean="0"/>
              <a:pPr/>
              <a:t>‹#›</a:t>
            </a:fld>
            <a:endParaRPr lang="en-US"/>
          </a:p>
        </p:txBody>
      </p:sp>
      <p:sp>
        <p:nvSpPr>
          <p:cNvPr id="49" name="Footer Placeholder 5">
            <a:extLst>
              <a:ext uri="{FF2B5EF4-FFF2-40B4-BE49-F238E27FC236}">
                <a16:creationId xmlns:a16="http://schemas.microsoft.com/office/drawing/2014/main" id="{3324246F-F0D6-1940-4C2D-1B0A3C16AE4C}"/>
              </a:ext>
            </a:extLst>
          </p:cNvPr>
          <p:cNvSpPr>
            <a:spLocks noGrp="1"/>
          </p:cNvSpPr>
          <p:nvPr>
            <p:ph type="ftr" sz="quarter" idx="11"/>
          </p:nvPr>
        </p:nvSpPr>
        <p:spPr>
          <a:xfrm>
            <a:off x="294894" y="6281928"/>
            <a:ext cx="1837944" cy="274320"/>
          </a:xfrm>
          <a:prstGeom prst="rect">
            <a:avLst/>
          </a:prstGeom>
        </p:spPr>
        <p:txBody>
          <a:bodyPr>
            <a:noAutofit/>
          </a:bodyPr>
          <a:lstStyle>
            <a:lvl1pPr algn="l">
              <a:defRPr/>
            </a:lvl1pPr>
          </a:lstStyle>
          <a:p>
            <a:r>
              <a:rPr lang="en-US"/>
              <a:t>Contoso grand opening event</a:t>
            </a:r>
          </a:p>
        </p:txBody>
      </p:sp>
    </p:spTree>
    <p:extLst>
      <p:ext uri="{BB962C8B-B14F-4D97-AF65-F5344CB8AC3E}">
        <p14:creationId xmlns:p14="http://schemas.microsoft.com/office/powerpoint/2010/main" val="30827250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450ACB28-E48A-5740-A6D3-E094D17FB09B}"/>
              </a:ext>
            </a:extLst>
          </p:cNvPr>
          <p:cNvSpPr/>
          <p:nvPr userDrawn="1"/>
        </p:nvSpPr>
        <p:spPr>
          <a:xfrm>
            <a:off x="7164432" y="1533656"/>
            <a:ext cx="1045995" cy="1251173"/>
          </a:xfrm>
          <a:custGeom>
            <a:avLst/>
            <a:gdLst>
              <a:gd name="connsiteX0" fmla="*/ 1065214 w 1394660"/>
              <a:gd name="connsiteY0" fmla="*/ 1006 h 1251173"/>
              <a:gd name="connsiteX1" fmla="*/ 1144180 w 1394660"/>
              <a:gd name="connsiteY1" fmla="*/ 2923 h 1251173"/>
              <a:gd name="connsiteX2" fmla="*/ 1143883 w 1394660"/>
              <a:gd name="connsiteY2" fmla="*/ 1151759 h 1251173"/>
              <a:gd name="connsiteX3" fmla="*/ 43 w 1394660"/>
              <a:gd name="connsiteY3" fmla="*/ 917572 h 1251173"/>
              <a:gd name="connsiteX4" fmla="*/ 1065214 w 1394660"/>
              <a:gd name="connsiteY4" fmla="*/ 1006 h 12511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4660" h="1251173">
                <a:moveTo>
                  <a:pt x="1065214" y="1006"/>
                </a:moveTo>
                <a:cubicBezTo>
                  <a:pt x="1092720" y="-779"/>
                  <a:pt x="1119132" y="-215"/>
                  <a:pt x="1144180" y="2923"/>
                </a:cubicBezTo>
                <a:cubicBezTo>
                  <a:pt x="1544949" y="53123"/>
                  <a:pt x="1404083" y="971069"/>
                  <a:pt x="1143883" y="1151759"/>
                </a:cubicBezTo>
                <a:cubicBezTo>
                  <a:pt x="883684" y="1332450"/>
                  <a:pt x="6581" y="1273955"/>
                  <a:pt x="43" y="917572"/>
                </a:cubicBezTo>
                <a:cubicBezTo>
                  <a:pt x="-6086" y="583464"/>
                  <a:pt x="652628" y="27796"/>
                  <a:pt x="1065214" y="1006"/>
                </a:cubicBezTo>
                <a:close/>
              </a:path>
            </a:pathLst>
          </a:cu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6" name="Freeform: Shape 25">
            <a:extLst>
              <a:ext uri="{FF2B5EF4-FFF2-40B4-BE49-F238E27FC236}">
                <a16:creationId xmlns:a16="http://schemas.microsoft.com/office/drawing/2014/main" id="{3436AFF8-9C8F-34D5-490C-107E9F54DA96}"/>
              </a:ext>
            </a:extLst>
          </p:cNvPr>
          <p:cNvSpPr/>
          <p:nvPr userDrawn="1"/>
        </p:nvSpPr>
        <p:spPr>
          <a:xfrm>
            <a:off x="821368" y="1662389"/>
            <a:ext cx="983280" cy="1332925"/>
          </a:xfrm>
          <a:custGeom>
            <a:avLst/>
            <a:gdLst>
              <a:gd name="connsiteX0" fmla="*/ 760032 w 1311040"/>
              <a:gd name="connsiteY0" fmla="*/ 1872 h 1332925"/>
              <a:gd name="connsiteX1" fmla="*/ 1114773 w 1311040"/>
              <a:gd name="connsiteY1" fmla="*/ 68853 h 1332925"/>
              <a:gd name="connsiteX2" fmla="*/ 1166213 w 1311040"/>
              <a:gd name="connsiteY2" fmla="*/ 1125308 h 1332925"/>
              <a:gd name="connsiteX3" fmla="*/ 150887 w 1311040"/>
              <a:gd name="connsiteY3" fmla="*/ 1201691 h 1332925"/>
              <a:gd name="connsiteX4" fmla="*/ 105320 w 1311040"/>
              <a:gd name="connsiteY4" fmla="*/ 223299 h 1332925"/>
              <a:gd name="connsiteX5" fmla="*/ 760032 w 1311040"/>
              <a:gd name="connsiteY5" fmla="*/ 1872 h 133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1040" h="1332925">
                <a:moveTo>
                  <a:pt x="760032" y="1872"/>
                </a:moveTo>
                <a:cubicBezTo>
                  <a:pt x="912528" y="-6449"/>
                  <a:pt x="1048468" y="12477"/>
                  <a:pt x="1114773" y="68853"/>
                </a:cubicBezTo>
                <a:cubicBezTo>
                  <a:pt x="1291589" y="219188"/>
                  <a:pt x="1425495" y="823841"/>
                  <a:pt x="1166213" y="1125308"/>
                </a:cubicBezTo>
                <a:cubicBezTo>
                  <a:pt x="906931" y="1426775"/>
                  <a:pt x="327702" y="1352026"/>
                  <a:pt x="150887" y="1201691"/>
                </a:cubicBezTo>
                <a:cubicBezTo>
                  <a:pt x="-25929" y="1051356"/>
                  <a:pt x="-55328" y="412105"/>
                  <a:pt x="105320" y="223299"/>
                </a:cubicBezTo>
                <a:cubicBezTo>
                  <a:pt x="205725" y="105295"/>
                  <a:pt x="505873" y="15741"/>
                  <a:pt x="760032" y="1872"/>
                </a:cubicBezTo>
                <a:close/>
              </a:path>
            </a:pathLst>
          </a:cu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5" name="Freeform: Shape 24">
            <a:extLst>
              <a:ext uri="{FF2B5EF4-FFF2-40B4-BE49-F238E27FC236}">
                <a16:creationId xmlns:a16="http://schemas.microsoft.com/office/drawing/2014/main" id="{8F8C201A-0786-FC68-D542-22B4C6AA1894}"/>
              </a:ext>
            </a:extLst>
          </p:cNvPr>
          <p:cNvSpPr/>
          <p:nvPr userDrawn="1"/>
        </p:nvSpPr>
        <p:spPr>
          <a:xfrm>
            <a:off x="2867283" y="1597010"/>
            <a:ext cx="965749" cy="1468816"/>
          </a:xfrm>
          <a:custGeom>
            <a:avLst/>
            <a:gdLst>
              <a:gd name="connsiteX0" fmla="*/ 819156 w 1287665"/>
              <a:gd name="connsiteY0" fmla="*/ 237 h 1468816"/>
              <a:gd name="connsiteX1" fmla="*/ 1073512 w 1287665"/>
              <a:gd name="connsiteY1" fmla="*/ 75586 h 1468816"/>
              <a:gd name="connsiteX2" fmla="*/ 1009218 w 1287665"/>
              <a:gd name="connsiteY2" fmla="*/ 1454079 h 1468816"/>
              <a:gd name="connsiteX3" fmla="*/ 975 w 1287665"/>
              <a:gd name="connsiteY3" fmla="*/ 735510 h 1468816"/>
              <a:gd name="connsiteX4" fmla="*/ 819156 w 1287665"/>
              <a:gd name="connsiteY4" fmla="*/ 237 h 14688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665" h="1468816">
                <a:moveTo>
                  <a:pt x="819156" y="237"/>
                </a:moveTo>
                <a:cubicBezTo>
                  <a:pt x="907123" y="-2584"/>
                  <a:pt x="993588" y="19619"/>
                  <a:pt x="1073512" y="75586"/>
                </a:cubicBezTo>
                <a:cubicBezTo>
                  <a:pt x="1499773" y="374078"/>
                  <a:pt x="1187974" y="1344092"/>
                  <a:pt x="1009218" y="1454079"/>
                </a:cubicBezTo>
                <a:cubicBezTo>
                  <a:pt x="830462" y="1564066"/>
                  <a:pt x="-32980" y="1032017"/>
                  <a:pt x="975" y="735510"/>
                </a:cubicBezTo>
                <a:cubicBezTo>
                  <a:pt x="28563" y="494599"/>
                  <a:pt x="437964" y="12464"/>
                  <a:pt x="819156" y="237"/>
                </a:cubicBezTo>
                <a:close/>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4" name="Freeform: Shape 23">
            <a:extLst>
              <a:ext uri="{FF2B5EF4-FFF2-40B4-BE49-F238E27FC236}">
                <a16:creationId xmlns:a16="http://schemas.microsoft.com/office/drawing/2014/main" id="{1877F062-A889-08D4-9EFF-C8F31CE14470}"/>
              </a:ext>
            </a:extLst>
          </p:cNvPr>
          <p:cNvSpPr/>
          <p:nvPr userDrawn="1"/>
        </p:nvSpPr>
        <p:spPr>
          <a:xfrm>
            <a:off x="5422081" y="1717547"/>
            <a:ext cx="909657" cy="1277484"/>
          </a:xfrm>
          <a:custGeom>
            <a:avLst/>
            <a:gdLst>
              <a:gd name="connsiteX0" fmla="*/ 661792 w 1212876"/>
              <a:gd name="connsiteY0" fmla="*/ 2751 h 1277484"/>
              <a:gd name="connsiteX1" fmla="*/ 1021677 w 1212876"/>
              <a:gd name="connsiteY1" fmla="*/ 95771 h 1277484"/>
              <a:gd name="connsiteX2" fmla="*/ 1087176 w 1212876"/>
              <a:gd name="connsiteY2" fmla="*/ 947071 h 1277484"/>
              <a:gd name="connsiteX3" fmla="*/ 189382 w 1212876"/>
              <a:gd name="connsiteY3" fmla="*/ 1190864 h 1277484"/>
              <a:gd name="connsiteX4" fmla="*/ 162703 w 1212876"/>
              <a:gd name="connsiteY4" fmla="*/ 253352 h 1277484"/>
              <a:gd name="connsiteX5" fmla="*/ 661792 w 1212876"/>
              <a:gd name="connsiteY5" fmla="*/ 2751 h 127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2876" h="1277484">
                <a:moveTo>
                  <a:pt x="661792" y="2751"/>
                </a:moveTo>
                <a:cubicBezTo>
                  <a:pt x="787404" y="-8808"/>
                  <a:pt x="915287" y="14913"/>
                  <a:pt x="1021677" y="95771"/>
                </a:cubicBezTo>
                <a:cubicBezTo>
                  <a:pt x="1305381" y="311393"/>
                  <a:pt x="1225891" y="764555"/>
                  <a:pt x="1087176" y="947071"/>
                </a:cubicBezTo>
                <a:cubicBezTo>
                  <a:pt x="948460" y="1129586"/>
                  <a:pt x="511372" y="1425199"/>
                  <a:pt x="189382" y="1190864"/>
                </a:cubicBezTo>
                <a:cubicBezTo>
                  <a:pt x="-132607" y="956530"/>
                  <a:pt x="23987" y="435868"/>
                  <a:pt x="162703" y="253352"/>
                </a:cubicBezTo>
                <a:cubicBezTo>
                  <a:pt x="249400" y="139280"/>
                  <a:pt x="452440" y="22016"/>
                  <a:pt x="661792" y="2751"/>
                </a:cubicBezTo>
                <a:close/>
              </a:path>
            </a:pathLst>
          </a:cu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 name="Title 1">
            <a:extLst>
              <a:ext uri="{FF2B5EF4-FFF2-40B4-BE49-F238E27FC236}">
                <a16:creationId xmlns:a16="http://schemas.microsoft.com/office/drawing/2014/main" id="{93208EE5-3D2D-AD91-3E4D-4F853F8DB433}"/>
              </a:ext>
            </a:extLst>
          </p:cNvPr>
          <p:cNvSpPr>
            <a:spLocks noGrp="1"/>
          </p:cNvSpPr>
          <p:nvPr>
            <p:ph type="title"/>
          </p:nvPr>
        </p:nvSpPr>
        <p:spPr/>
        <p:txBody>
          <a:bodyPr>
            <a:noAutofit/>
          </a:bodyPr>
          <a:lstStyle>
            <a:lvl1pPr algn="ctr">
              <a:defRPr/>
            </a:lvl1pPr>
          </a:lstStyle>
          <a:p>
            <a:r>
              <a:rPr lang="en-US"/>
              <a:t>Click to edit Master title style</a:t>
            </a:r>
          </a:p>
        </p:txBody>
      </p:sp>
      <p:sp>
        <p:nvSpPr>
          <p:cNvPr id="29" name="Picture Placeholder 28">
            <a:extLst>
              <a:ext uri="{FF2B5EF4-FFF2-40B4-BE49-F238E27FC236}">
                <a16:creationId xmlns:a16="http://schemas.microsoft.com/office/drawing/2014/main" id="{B1DE3BF4-0CFD-6567-DCCE-2B743C040724}"/>
              </a:ext>
            </a:extLst>
          </p:cNvPr>
          <p:cNvSpPr>
            <a:spLocks noGrp="1"/>
          </p:cNvSpPr>
          <p:nvPr>
            <p:ph type="pic" sz="quarter" idx="13"/>
          </p:nvPr>
        </p:nvSpPr>
        <p:spPr>
          <a:xfrm>
            <a:off x="765544" y="1733011"/>
            <a:ext cx="1026164" cy="1360576"/>
          </a:xfrm>
          <a:custGeom>
            <a:avLst/>
            <a:gdLst>
              <a:gd name="connsiteX0" fmla="*/ 711460 w 1368219"/>
              <a:gd name="connsiteY0" fmla="*/ 896 h 1360576"/>
              <a:gd name="connsiteX1" fmla="*/ 1368219 w 1368219"/>
              <a:gd name="connsiteY1" fmla="*/ 723493 h 1360576"/>
              <a:gd name="connsiteX2" fmla="*/ 711460 w 1368219"/>
              <a:gd name="connsiteY2" fmla="*/ 1360365 h 1360576"/>
              <a:gd name="connsiteX3" fmla="*/ 0 w 1368219"/>
              <a:gd name="connsiteY3" fmla="*/ 723493 h 1360576"/>
              <a:gd name="connsiteX4" fmla="*/ 711460 w 1368219"/>
              <a:gd name="connsiteY4" fmla="*/ 896 h 13605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8219" h="1360576">
                <a:moveTo>
                  <a:pt x="711460" y="896"/>
                </a:moveTo>
                <a:cubicBezTo>
                  <a:pt x="1227364" y="26296"/>
                  <a:pt x="1368219" y="324414"/>
                  <a:pt x="1368219" y="723493"/>
                </a:cubicBezTo>
                <a:cubicBezTo>
                  <a:pt x="1368219" y="1122573"/>
                  <a:pt x="1345896" y="1368831"/>
                  <a:pt x="711460" y="1360365"/>
                </a:cubicBezTo>
                <a:cubicBezTo>
                  <a:pt x="77023" y="1351900"/>
                  <a:pt x="0" y="950072"/>
                  <a:pt x="0" y="723493"/>
                </a:cubicBezTo>
                <a:cubicBezTo>
                  <a:pt x="0" y="496915"/>
                  <a:pt x="195556" y="-24503"/>
                  <a:pt x="711460" y="896"/>
                </a:cubicBezTo>
                <a:close/>
              </a:path>
            </a:pathLst>
          </a:custGeom>
          <a:solidFill>
            <a:schemeClr val="bg1">
              <a:lumMod val="85000"/>
            </a:schemeClr>
          </a:solidFill>
        </p:spPr>
        <p:txBody>
          <a:bodyPr wrap="square" anchor="ctr">
            <a:noAutofit/>
          </a:bodyPr>
          <a:lstStyle>
            <a:lvl1pPr marL="0" indent="0" algn="ctr">
              <a:buNone/>
              <a:defRPr sz="1350"/>
            </a:lvl1pPr>
          </a:lstStyle>
          <a:p>
            <a:r>
              <a:rPr lang="en-US"/>
              <a:t>Click icon to add picture</a:t>
            </a:r>
          </a:p>
        </p:txBody>
      </p:sp>
      <p:sp>
        <p:nvSpPr>
          <p:cNvPr id="32" name="Picture Placeholder 31">
            <a:extLst>
              <a:ext uri="{FF2B5EF4-FFF2-40B4-BE49-F238E27FC236}">
                <a16:creationId xmlns:a16="http://schemas.microsoft.com/office/drawing/2014/main" id="{F44C3697-BAFA-28BA-4921-270D6CABCCBC}"/>
              </a:ext>
            </a:extLst>
          </p:cNvPr>
          <p:cNvSpPr>
            <a:spLocks noGrp="1"/>
          </p:cNvSpPr>
          <p:nvPr>
            <p:ph type="pic" sz="quarter" idx="14"/>
          </p:nvPr>
        </p:nvSpPr>
        <p:spPr>
          <a:xfrm>
            <a:off x="2956611" y="1658532"/>
            <a:ext cx="1079032" cy="1325401"/>
          </a:xfrm>
          <a:custGeom>
            <a:avLst/>
            <a:gdLst>
              <a:gd name="connsiteX0" fmla="*/ 766295 w 1438709"/>
              <a:gd name="connsiteY0" fmla="*/ 769 h 1325401"/>
              <a:gd name="connsiteX1" fmla="*/ 976227 w 1438709"/>
              <a:gd name="connsiteY1" fmla="*/ 36958 h 1325401"/>
              <a:gd name="connsiteX2" fmla="*/ 1216644 w 1438709"/>
              <a:gd name="connsiteY2" fmla="*/ 1222270 h 1325401"/>
              <a:gd name="connsiteX3" fmla="*/ 1489 w 1438709"/>
              <a:gd name="connsiteY3" fmla="*/ 807424 h 1325401"/>
              <a:gd name="connsiteX4" fmla="*/ 766295 w 1438709"/>
              <a:gd name="connsiteY4" fmla="*/ 769 h 1325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709" h="1325401">
                <a:moveTo>
                  <a:pt x="766295" y="769"/>
                </a:moveTo>
                <a:cubicBezTo>
                  <a:pt x="833426" y="3741"/>
                  <a:pt x="903596" y="15407"/>
                  <a:pt x="976227" y="36958"/>
                </a:cubicBezTo>
                <a:cubicBezTo>
                  <a:pt x="1445288" y="178830"/>
                  <a:pt x="1613245" y="992057"/>
                  <a:pt x="1216644" y="1222270"/>
                </a:cubicBezTo>
                <a:cubicBezTo>
                  <a:pt x="820042" y="1452484"/>
                  <a:pt x="31377" y="1290022"/>
                  <a:pt x="1489" y="807424"/>
                </a:cubicBezTo>
                <a:cubicBezTo>
                  <a:pt x="-24664" y="385151"/>
                  <a:pt x="296373" y="-20036"/>
                  <a:pt x="766295" y="769"/>
                </a:cubicBezTo>
                <a:close/>
              </a:path>
            </a:pathLst>
          </a:custGeom>
          <a:solidFill>
            <a:schemeClr val="bg1">
              <a:lumMod val="85000"/>
            </a:schemeClr>
          </a:solidFill>
        </p:spPr>
        <p:txBody>
          <a:bodyPr wrap="square" anchor="ctr">
            <a:noAutofit/>
          </a:bodyPr>
          <a:lstStyle>
            <a:lvl1pPr marL="0" indent="0" algn="ctr">
              <a:buNone/>
              <a:defRPr sz="1350"/>
            </a:lvl1pPr>
          </a:lstStyle>
          <a:p>
            <a:r>
              <a:rPr lang="en-US"/>
              <a:t>Click icon to add picture</a:t>
            </a:r>
          </a:p>
        </p:txBody>
      </p:sp>
      <p:sp>
        <p:nvSpPr>
          <p:cNvPr id="51" name="Picture Placeholder 50">
            <a:extLst>
              <a:ext uri="{FF2B5EF4-FFF2-40B4-BE49-F238E27FC236}">
                <a16:creationId xmlns:a16="http://schemas.microsoft.com/office/drawing/2014/main" id="{B982DD40-45F4-A734-10A7-250086C2714D}"/>
              </a:ext>
            </a:extLst>
          </p:cNvPr>
          <p:cNvSpPr>
            <a:spLocks noGrp="1"/>
          </p:cNvSpPr>
          <p:nvPr>
            <p:ph type="pic" sz="quarter" idx="15"/>
          </p:nvPr>
        </p:nvSpPr>
        <p:spPr>
          <a:xfrm>
            <a:off x="5159120" y="1680105"/>
            <a:ext cx="1046981" cy="1472634"/>
          </a:xfrm>
          <a:custGeom>
            <a:avLst/>
            <a:gdLst>
              <a:gd name="connsiteX0" fmla="*/ 705655 w 1395974"/>
              <a:gd name="connsiteY0" fmla="*/ 0 h 1472634"/>
              <a:gd name="connsiteX1" fmla="*/ 1395974 w 1395974"/>
              <a:gd name="connsiteY1" fmla="*/ 774649 h 1472634"/>
              <a:gd name="connsiteX2" fmla="*/ 697989 w 1395974"/>
              <a:gd name="connsiteY2" fmla="*/ 1472634 h 1472634"/>
              <a:gd name="connsiteX3" fmla="*/ 4 w 1395974"/>
              <a:gd name="connsiteY3" fmla="*/ 774649 h 1472634"/>
              <a:gd name="connsiteX4" fmla="*/ 705655 w 1395974"/>
              <a:gd name="connsiteY4" fmla="*/ 0 h 14726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5974" h="1472634">
                <a:moveTo>
                  <a:pt x="705655" y="0"/>
                </a:moveTo>
                <a:cubicBezTo>
                  <a:pt x="1091142" y="0"/>
                  <a:pt x="1395974" y="389162"/>
                  <a:pt x="1395974" y="774649"/>
                </a:cubicBezTo>
                <a:cubicBezTo>
                  <a:pt x="1395974" y="1160135"/>
                  <a:pt x="1083476" y="1472634"/>
                  <a:pt x="697989" y="1472634"/>
                </a:cubicBezTo>
                <a:cubicBezTo>
                  <a:pt x="312503" y="1472634"/>
                  <a:pt x="-1273" y="1020088"/>
                  <a:pt x="4" y="774649"/>
                </a:cubicBezTo>
                <a:cubicBezTo>
                  <a:pt x="1281" y="529210"/>
                  <a:pt x="320169" y="0"/>
                  <a:pt x="705655" y="0"/>
                </a:cubicBezTo>
                <a:close/>
              </a:path>
            </a:pathLst>
          </a:custGeom>
          <a:solidFill>
            <a:schemeClr val="bg1">
              <a:lumMod val="85000"/>
            </a:schemeClr>
          </a:solidFill>
        </p:spPr>
        <p:txBody>
          <a:bodyPr wrap="square" anchor="ctr">
            <a:noAutofit/>
          </a:bodyPr>
          <a:lstStyle>
            <a:lvl1pPr marL="0" indent="0" algn="ctr">
              <a:buNone/>
              <a:defRPr sz="1350"/>
            </a:lvl1pPr>
          </a:lstStyle>
          <a:p>
            <a:r>
              <a:rPr lang="en-US"/>
              <a:t>Click icon to add picture</a:t>
            </a:r>
          </a:p>
        </p:txBody>
      </p:sp>
      <p:sp>
        <p:nvSpPr>
          <p:cNvPr id="52" name="Picture Placeholder 51">
            <a:extLst>
              <a:ext uri="{FF2B5EF4-FFF2-40B4-BE49-F238E27FC236}">
                <a16:creationId xmlns:a16="http://schemas.microsoft.com/office/drawing/2014/main" id="{EFB9CCB0-3B43-F6EB-605C-68FC6DAC4160}"/>
              </a:ext>
            </a:extLst>
          </p:cNvPr>
          <p:cNvSpPr>
            <a:spLocks noGrp="1"/>
          </p:cNvSpPr>
          <p:nvPr>
            <p:ph type="pic" sz="quarter" idx="16"/>
          </p:nvPr>
        </p:nvSpPr>
        <p:spPr>
          <a:xfrm>
            <a:off x="7284057" y="1631918"/>
            <a:ext cx="1156250" cy="1435490"/>
          </a:xfrm>
          <a:custGeom>
            <a:avLst/>
            <a:gdLst>
              <a:gd name="connsiteX0" fmla="*/ 907336 w 1541667"/>
              <a:gd name="connsiteY0" fmla="*/ 1446 h 1435490"/>
              <a:gd name="connsiteX1" fmla="*/ 972212 w 1541667"/>
              <a:gd name="connsiteY1" fmla="*/ 13712 h 1435490"/>
              <a:gd name="connsiteX2" fmla="*/ 1285099 w 1541667"/>
              <a:gd name="connsiteY2" fmla="*/ 1226118 h 1435490"/>
              <a:gd name="connsiteX3" fmla="*/ 1081 w 1541667"/>
              <a:gd name="connsiteY3" fmla="*/ 775826 h 1435490"/>
              <a:gd name="connsiteX4" fmla="*/ 907336 w 1541667"/>
              <a:gd name="connsiteY4" fmla="*/ 1446 h 14354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1667" h="1435490">
                <a:moveTo>
                  <a:pt x="907336" y="1446"/>
                </a:moveTo>
                <a:cubicBezTo>
                  <a:pt x="930164" y="3425"/>
                  <a:pt x="951876" y="7462"/>
                  <a:pt x="972212" y="13712"/>
                </a:cubicBezTo>
                <a:cubicBezTo>
                  <a:pt x="1297588" y="113712"/>
                  <a:pt x="1879980" y="701420"/>
                  <a:pt x="1285099" y="1226118"/>
                </a:cubicBezTo>
                <a:cubicBezTo>
                  <a:pt x="690218" y="1750816"/>
                  <a:pt x="32869" y="1171317"/>
                  <a:pt x="1081" y="775826"/>
                </a:cubicBezTo>
                <a:cubicBezTo>
                  <a:pt x="-28719" y="405053"/>
                  <a:pt x="564913" y="-28239"/>
                  <a:pt x="907336" y="1446"/>
                </a:cubicBezTo>
                <a:close/>
              </a:path>
            </a:pathLst>
          </a:custGeom>
          <a:solidFill>
            <a:schemeClr val="bg1">
              <a:lumMod val="85000"/>
            </a:schemeClr>
          </a:solidFill>
        </p:spPr>
        <p:txBody>
          <a:bodyPr wrap="square" anchor="ctr">
            <a:noAutofit/>
          </a:bodyPr>
          <a:lstStyle>
            <a:lvl1pPr marL="0" indent="0" algn="ctr">
              <a:buNone/>
              <a:defRPr sz="1350"/>
            </a:lvl1pPr>
          </a:lstStyle>
          <a:p>
            <a:r>
              <a:rPr lang="en-US"/>
              <a:t>Click icon to add picture</a:t>
            </a:r>
          </a:p>
        </p:txBody>
      </p:sp>
      <p:sp>
        <p:nvSpPr>
          <p:cNvPr id="40" name="Text Placeholder 39">
            <a:extLst>
              <a:ext uri="{FF2B5EF4-FFF2-40B4-BE49-F238E27FC236}">
                <a16:creationId xmlns:a16="http://schemas.microsoft.com/office/drawing/2014/main" id="{95D410CB-8838-F5FE-B127-40EB466A162F}"/>
              </a:ext>
            </a:extLst>
          </p:cNvPr>
          <p:cNvSpPr>
            <a:spLocks noGrp="1"/>
          </p:cNvSpPr>
          <p:nvPr>
            <p:ph type="body" sz="quarter" idx="17"/>
          </p:nvPr>
        </p:nvSpPr>
        <p:spPr>
          <a:xfrm>
            <a:off x="387178" y="3236976"/>
            <a:ext cx="1851660" cy="182880"/>
          </a:xfrm>
        </p:spPr>
        <p:txBody>
          <a:bodyPr anchor="ctr">
            <a:noAutofit/>
          </a:bodyPr>
          <a:lstStyle>
            <a:lvl1pPr marL="0" indent="0" algn="ctr">
              <a:lnSpc>
                <a:spcPct val="100000"/>
              </a:lnSpc>
              <a:buNone/>
              <a:defRPr sz="120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41" name="Text Placeholder 39">
            <a:extLst>
              <a:ext uri="{FF2B5EF4-FFF2-40B4-BE49-F238E27FC236}">
                <a16:creationId xmlns:a16="http://schemas.microsoft.com/office/drawing/2014/main" id="{4AB9408A-B6CD-B62B-A40C-113C980EF1FE}"/>
              </a:ext>
            </a:extLst>
          </p:cNvPr>
          <p:cNvSpPr>
            <a:spLocks noGrp="1"/>
          </p:cNvSpPr>
          <p:nvPr>
            <p:ph type="body" sz="quarter" idx="18"/>
          </p:nvPr>
        </p:nvSpPr>
        <p:spPr>
          <a:xfrm>
            <a:off x="2574591" y="3236976"/>
            <a:ext cx="1851660" cy="182880"/>
          </a:xfrm>
        </p:spPr>
        <p:txBody>
          <a:bodyPr anchor="ctr">
            <a:noAutofit/>
          </a:bodyPr>
          <a:lstStyle>
            <a:lvl1pPr marL="0" indent="0" algn="ctr">
              <a:lnSpc>
                <a:spcPct val="100000"/>
              </a:lnSpc>
              <a:buNone/>
              <a:defRPr sz="120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42" name="Text Placeholder 39">
            <a:extLst>
              <a:ext uri="{FF2B5EF4-FFF2-40B4-BE49-F238E27FC236}">
                <a16:creationId xmlns:a16="http://schemas.microsoft.com/office/drawing/2014/main" id="{61463C70-6782-0D6E-7762-61E567762645}"/>
              </a:ext>
            </a:extLst>
          </p:cNvPr>
          <p:cNvSpPr>
            <a:spLocks noGrp="1"/>
          </p:cNvSpPr>
          <p:nvPr>
            <p:ph type="body" sz="quarter" idx="19"/>
          </p:nvPr>
        </p:nvSpPr>
        <p:spPr>
          <a:xfrm>
            <a:off x="4755471" y="3236976"/>
            <a:ext cx="1851660" cy="182880"/>
          </a:xfrm>
        </p:spPr>
        <p:txBody>
          <a:bodyPr anchor="ctr">
            <a:noAutofit/>
          </a:bodyPr>
          <a:lstStyle>
            <a:lvl1pPr marL="0" indent="0" algn="ctr">
              <a:lnSpc>
                <a:spcPct val="100000"/>
              </a:lnSpc>
              <a:buNone/>
              <a:defRPr sz="120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43" name="Text Placeholder 39">
            <a:extLst>
              <a:ext uri="{FF2B5EF4-FFF2-40B4-BE49-F238E27FC236}">
                <a16:creationId xmlns:a16="http://schemas.microsoft.com/office/drawing/2014/main" id="{E4A9BFDF-CD6B-DB2B-93AB-335CC2AE455B}"/>
              </a:ext>
            </a:extLst>
          </p:cNvPr>
          <p:cNvSpPr>
            <a:spLocks noGrp="1"/>
          </p:cNvSpPr>
          <p:nvPr>
            <p:ph type="body" sz="quarter" idx="20"/>
          </p:nvPr>
        </p:nvSpPr>
        <p:spPr>
          <a:xfrm>
            <a:off x="6936351" y="3236976"/>
            <a:ext cx="1851660" cy="182880"/>
          </a:xfrm>
        </p:spPr>
        <p:txBody>
          <a:bodyPr anchor="ctr">
            <a:noAutofit/>
          </a:bodyPr>
          <a:lstStyle>
            <a:lvl1pPr marL="0" indent="0" algn="ctr">
              <a:lnSpc>
                <a:spcPct val="100000"/>
              </a:lnSpc>
              <a:buNone/>
              <a:defRPr sz="120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44" name="Text Placeholder 39">
            <a:extLst>
              <a:ext uri="{FF2B5EF4-FFF2-40B4-BE49-F238E27FC236}">
                <a16:creationId xmlns:a16="http://schemas.microsoft.com/office/drawing/2014/main" id="{D4374427-D19A-E579-3D78-7A08CED4EE8A}"/>
              </a:ext>
            </a:extLst>
          </p:cNvPr>
          <p:cNvSpPr>
            <a:spLocks noGrp="1"/>
          </p:cNvSpPr>
          <p:nvPr>
            <p:ph type="body" sz="quarter" idx="21"/>
          </p:nvPr>
        </p:nvSpPr>
        <p:spPr>
          <a:xfrm>
            <a:off x="387178" y="3474720"/>
            <a:ext cx="1851660" cy="265176"/>
          </a:xfrm>
        </p:spPr>
        <p:txBody>
          <a:bodyPr anchor="ctr">
            <a:noAutofit/>
          </a:bodyPr>
          <a:lstStyle>
            <a:lvl1pPr marL="0" indent="0" algn="ctr">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45" name="Text Placeholder 39">
            <a:extLst>
              <a:ext uri="{FF2B5EF4-FFF2-40B4-BE49-F238E27FC236}">
                <a16:creationId xmlns:a16="http://schemas.microsoft.com/office/drawing/2014/main" id="{1F400EB7-1FDE-3683-C9B4-63413EE5EA48}"/>
              </a:ext>
            </a:extLst>
          </p:cNvPr>
          <p:cNvSpPr>
            <a:spLocks noGrp="1"/>
          </p:cNvSpPr>
          <p:nvPr>
            <p:ph type="body" sz="quarter" idx="22"/>
          </p:nvPr>
        </p:nvSpPr>
        <p:spPr>
          <a:xfrm>
            <a:off x="2574591" y="3474720"/>
            <a:ext cx="1851660" cy="265176"/>
          </a:xfrm>
        </p:spPr>
        <p:txBody>
          <a:bodyPr anchor="ctr">
            <a:noAutofit/>
          </a:bodyPr>
          <a:lstStyle>
            <a:lvl1pPr marL="0" indent="0" algn="ctr">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46" name="Text Placeholder 39">
            <a:extLst>
              <a:ext uri="{FF2B5EF4-FFF2-40B4-BE49-F238E27FC236}">
                <a16:creationId xmlns:a16="http://schemas.microsoft.com/office/drawing/2014/main" id="{5D8F7F98-168C-5B0E-F2F8-A4AD7BA597D2}"/>
              </a:ext>
            </a:extLst>
          </p:cNvPr>
          <p:cNvSpPr>
            <a:spLocks noGrp="1"/>
          </p:cNvSpPr>
          <p:nvPr>
            <p:ph type="body" sz="quarter" idx="23"/>
          </p:nvPr>
        </p:nvSpPr>
        <p:spPr>
          <a:xfrm>
            <a:off x="4755471" y="3474720"/>
            <a:ext cx="1851660" cy="265176"/>
          </a:xfrm>
        </p:spPr>
        <p:txBody>
          <a:bodyPr anchor="ctr">
            <a:noAutofit/>
          </a:bodyPr>
          <a:lstStyle>
            <a:lvl1pPr marL="0" indent="0" algn="ctr">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47" name="Text Placeholder 39">
            <a:extLst>
              <a:ext uri="{FF2B5EF4-FFF2-40B4-BE49-F238E27FC236}">
                <a16:creationId xmlns:a16="http://schemas.microsoft.com/office/drawing/2014/main" id="{C5A299EB-BF79-F241-A67B-AD318037BB55}"/>
              </a:ext>
            </a:extLst>
          </p:cNvPr>
          <p:cNvSpPr>
            <a:spLocks noGrp="1"/>
          </p:cNvSpPr>
          <p:nvPr>
            <p:ph type="body" sz="quarter" idx="24"/>
          </p:nvPr>
        </p:nvSpPr>
        <p:spPr>
          <a:xfrm>
            <a:off x="6936351" y="3474720"/>
            <a:ext cx="1851660" cy="265176"/>
          </a:xfrm>
        </p:spPr>
        <p:txBody>
          <a:bodyPr anchor="ctr">
            <a:noAutofit/>
          </a:bodyPr>
          <a:lstStyle>
            <a:lvl1pPr marL="0" indent="0" algn="ctr">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48" name="Slide Number Placeholder 47">
            <a:extLst>
              <a:ext uri="{FF2B5EF4-FFF2-40B4-BE49-F238E27FC236}">
                <a16:creationId xmlns:a16="http://schemas.microsoft.com/office/drawing/2014/main" id="{B6BC38C4-7EDF-0398-884C-F604FCF79ABE}"/>
              </a:ext>
            </a:extLst>
          </p:cNvPr>
          <p:cNvSpPr>
            <a:spLocks noGrp="1"/>
          </p:cNvSpPr>
          <p:nvPr>
            <p:ph type="sldNum" sz="quarter" idx="12"/>
          </p:nvPr>
        </p:nvSpPr>
        <p:spPr>
          <a:xfrm>
            <a:off x="8620295" y="6232422"/>
            <a:ext cx="263185" cy="338960"/>
          </a:xfrm>
          <a:custGeom>
            <a:avLst/>
            <a:gdLst>
              <a:gd name="connsiteX0" fmla="*/ 154845 w 350913"/>
              <a:gd name="connsiteY0" fmla="*/ 22 h 338960"/>
              <a:gd name="connsiteX1" fmla="*/ 340005 w 350913"/>
              <a:gd name="connsiteY1" fmla="*/ 221278 h 338960"/>
              <a:gd name="connsiteX2" fmla="*/ 10634 w 350913"/>
              <a:gd name="connsiteY2" fmla="*/ 289178 h 338960"/>
              <a:gd name="connsiteX3" fmla="*/ 119488 w 350913"/>
              <a:gd name="connsiteY3" fmla="*/ 4155 h 338960"/>
              <a:gd name="connsiteX4" fmla="*/ 154845 w 350913"/>
              <a:gd name="connsiteY4" fmla="*/ 22 h 338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13" h="338960">
                <a:moveTo>
                  <a:pt x="154845" y="22"/>
                </a:moveTo>
                <a:cubicBezTo>
                  <a:pt x="246677" y="-1293"/>
                  <a:pt x="391912" y="57780"/>
                  <a:pt x="340005" y="221278"/>
                </a:cubicBezTo>
                <a:cubicBezTo>
                  <a:pt x="280684" y="408133"/>
                  <a:pt x="47387" y="325365"/>
                  <a:pt x="10634" y="289178"/>
                </a:cubicBezTo>
                <a:cubicBezTo>
                  <a:pt x="-26119" y="252991"/>
                  <a:pt x="37818" y="24351"/>
                  <a:pt x="119488" y="4155"/>
                </a:cubicBezTo>
                <a:cubicBezTo>
                  <a:pt x="129697" y="1631"/>
                  <a:pt x="141726" y="210"/>
                  <a:pt x="154845" y="22"/>
                </a:cubicBezTo>
                <a:close/>
              </a:path>
            </a:pathLst>
          </a:custGeom>
          <a:ln>
            <a:solidFill>
              <a:schemeClr val="accent4"/>
            </a:solidFill>
          </a:ln>
        </p:spPr>
        <p:txBody>
          <a:bodyPr wrap="square">
            <a:noAutofit/>
          </a:bodyPr>
          <a:lstStyle>
            <a:lvl1pPr algn="ctr">
              <a:defRPr/>
            </a:lvl1pPr>
          </a:lstStyle>
          <a:p>
            <a:fld id="{294A09A9-5501-47C1-A89A-A340965A2BE2}" type="slidenum">
              <a:rPr lang="en-US" smtClean="0"/>
              <a:pPr/>
              <a:t>‹#›</a:t>
            </a:fld>
            <a:endParaRPr lang="en-US"/>
          </a:p>
        </p:txBody>
      </p:sp>
      <p:sp>
        <p:nvSpPr>
          <p:cNvPr id="49" name="Footer Placeholder 5">
            <a:extLst>
              <a:ext uri="{FF2B5EF4-FFF2-40B4-BE49-F238E27FC236}">
                <a16:creationId xmlns:a16="http://schemas.microsoft.com/office/drawing/2014/main" id="{3324246F-F0D6-1940-4C2D-1B0A3C16AE4C}"/>
              </a:ext>
            </a:extLst>
          </p:cNvPr>
          <p:cNvSpPr>
            <a:spLocks noGrp="1"/>
          </p:cNvSpPr>
          <p:nvPr>
            <p:ph type="ftr" sz="quarter" idx="11"/>
          </p:nvPr>
        </p:nvSpPr>
        <p:spPr>
          <a:xfrm>
            <a:off x="294894" y="6281928"/>
            <a:ext cx="1837944" cy="274320"/>
          </a:xfrm>
          <a:prstGeom prst="rect">
            <a:avLst/>
          </a:prstGeom>
        </p:spPr>
        <p:txBody>
          <a:bodyPr>
            <a:noAutofit/>
          </a:bodyPr>
          <a:lstStyle>
            <a:lvl1pPr algn="l">
              <a:defRPr/>
            </a:lvl1pPr>
          </a:lstStyle>
          <a:p>
            <a:r>
              <a:rPr lang="en-US"/>
              <a:t>Contoso grand opening event</a:t>
            </a:r>
          </a:p>
        </p:txBody>
      </p:sp>
      <p:sp>
        <p:nvSpPr>
          <p:cNvPr id="4" name="Triangle 2">
            <a:extLst>
              <a:ext uri="{FF2B5EF4-FFF2-40B4-BE49-F238E27FC236}">
                <a16:creationId xmlns:a16="http://schemas.microsoft.com/office/drawing/2014/main" id="{E9D746EE-2CD1-8E5F-21D1-717095C13A21}"/>
              </a:ext>
            </a:extLst>
          </p:cNvPr>
          <p:cNvSpPr/>
          <p:nvPr userDrawn="1"/>
        </p:nvSpPr>
        <p:spPr>
          <a:xfrm rot="21394394">
            <a:off x="7419050" y="3963991"/>
            <a:ext cx="1106625" cy="1314452"/>
          </a:xfrm>
          <a:custGeom>
            <a:avLst/>
            <a:gdLst>
              <a:gd name="connsiteX0" fmla="*/ 0 w 4306493"/>
              <a:gd name="connsiteY0" fmla="*/ 3712494 h 3712494"/>
              <a:gd name="connsiteX1" fmla="*/ 2153247 w 4306493"/>
              <a:gd name="connsiteY1" fmla="*/ 0 h 3712494"/>
              <a:gd name="connsiteX2" fmla="*/ 4306493 w 4306493"/>
              <a:gd name="connsiteY2" fmla="*/ 3712494 h 3712494"/>
              <a:gd name="connsiteX3" fmla="*/ 0 w 4306493"/>
              <a:gd name="connsiteY3" fmla="*/ 3712494 h 3712494"/>
              <a:gd name="connsiteX0" fmla="*/ 0 w 4306493"/>
              <a:gd name="connsiteY0" fmla="*/ 3696452 h 3696452"/>
              <a:gd name="connsiteX1" fmla="*/ 2329710 w 4306493"/>
              <a:gd name="connsiteY1" fmla="*/ 0 h 3696452"/>
              <a:gd name="connsiteX2" fmla="*/ 4306493 w 4306493"/>
              <a:gd name="connsiteY2" fmla="*/ 3696452 h 3696452"/>
              <a:gd name="connsiteX3" fmla="*/ 0 w 4306493"/>
              <a:gd name="connsiteY3" fmla="*/ 3696452 h 3696452"/>
              <a:gd name="connsiteX0" fmla="*/ 37309 w 4402235"/>
              <a:gd name="connsiteY0" fmla="*/ 3696452 h 3696452"/>
              <a:gd name="connsiteX1" fmla="*/ 2367019 w 4402235"/>
              <a:gd name="connsiteY1" fmla="*/ 0 h 3696452"/>
              <a:gd name="connsiteX2" fmla="*/ 4343802 w 4402235"/>
              <a:gd name="connsiteY2" fmla="*/ 3696452 h 3696452"/>
              <a:gd name="connsiteX3" fmla="*/ 37309 w 4402235"/>
              <a:gd name="connsiteY3" fmla="*/ 3696452 h 3696452"/>
              <a:gd name="connsiteX0" fmla="*/ 37309 w 4758551"/>
              <a:gd name="connsiteY0" fmla="*/ 3696452 h 3696452"/>
              <a:gd name="connsiteX1" fmla="*/ 2367019 w 4758551"/>
              <a:gd name="connsiteY1" fmla="*/ 0 h 3696452"/>
              <a:gd name="connsiteX2" fmla="*/ 4343802 w 4758551"/>
              <a:gd name="connsiteY2" fmla="*/ 3696452 h 3696452"/>
              <a:gd name="connsiteX3" fmla="*/ 37309 w 4758551"/>
              <a:gd name="connsiteY3" fmla="*/ 3696452 h 3696452"/>
              <a:gd name="connsiteX0" fmla="*/ 379572 w 5100814"/>
              <a:gd name="connsiteY0" fmla="*/ 3696452 h 3696452"/>
              <a:gd name="connsiteX1" fmla="*/ 2709282 w 5100814"/>
              <a:gd name="connsiteY1" fmla="*/ 0 h 3696452"/>
              <a:gd name="connsiteX2" fmla="*/ 4686065 w 5100814"/>
              <a:gd name="connsiteY2" fmla="*/ 3696452 h 3696452"/>
              <a:gd name="connsiteX3" fmla="*/ 379572 w 5100814"/>
              <a:gd name="connsiteY3" fmla="*/ 3696452 h 3696452"/>
              <a:gd name="connsiteX0" fmla="*/ 527795 w 5425824"/>
              <a:gd name="connsiteY0" fmla="*/ 3696657 h 3696657"/>
              <a:gd name="connsiteX1" fmla="*/ 2857505 w 5425824"/>
              <a:gd name="connsiteY1" fmla="*/ 205 h 3696657"/>
              <a:gd name="connsiteX2" fmla="*/ 4834288 w 5425824"/>
              <a:gd name="connsiteY2" fmla="*/ 3696657 h 3696657"/>
              <a:gd name="connsiteX3" fmla="*/ 527795 w 5425824"/>
              <a:gd name="connsiteY3" fmla="*/ 3696657 h 3696657"/>
              <a:gd name="connsiteX0" fmla="*/ 507350 w 5405379"/>
              <a:gd name="connsiteY0" fmla="*/ 3696679 h 3853535"/>
              <a:gd name="connsiteX1" fmla="*/ 2837060 w 5405379"/>
              <a:gd name="connsiteY1" fmla="*/ 227 h 3853535"/>
              <a:gd name="connsiteX2" fmla="*/ 4813843 w 5405379"/>
              <a:gd name="connsiteY2" fmla="*/ 3696679 h 3853535"/>
              <a:gd name="connsiteX3" fmla="*/ 507350 w 5405379"/>
              <a:gd name="connsiteY3" fmla="*/ 3696679 h 3853535"/>
              <a:gd name="connsiteX0" fmla="*/ 321130 w 5326541"/>
              <a:gd name="connsiteY0" fmla="*/ 2552473 h 3795422"/>
              <a:gd name="connsiteX1" fmla="*/ 3260440 w 5326541"/>
              <a:gd name="connsiteY1" fmla="*/ 11053 h 3795422"/>
              <a:gd name="connsiteX2" fmla="*/ 5237223 w 5326541"/>
              <a:gd name="connsiteY2" fmla="*/ 3707505 h 3795422"/>
              <a:gd name="connsiteX3" fmla="*/ 321130 w 5326541"/>
              <a:gd name="connsiteY3" fmla="*/ 2552473 h 3795422"/>
              <a:gd name="connsiteX0" fmla="*/ 131275 w 5136686"/>
              <a:gd name="connsiteY0" fmla="*/ 2556035 h 3848881"/>
              <a:gd name="connsiteX1" fmla="*/ 3070585 w 5136686"/>
              <a:gd name="connsiteY1" fmla="*/ 14615 h 3848881"/>
              <a:gd name="connsiteX2" fmla="*/ 5047368 w 5136686"/>
              <a:gd name="connsiteY2" fmla="*/ 3711067 h 3848881"/>
              <a:gd name="connsiteX3" fmla="*/ 131275 w 5136686"/>
              <a:gd name="connsiteY3" fmla="*/ 2556035 h 3848881"/>
              <a:gd name="connsiteX0" fmla="*/ 139833 w 5155503"/>
              <a:gd name="connsiteY0" fmla="*/ 2577742 h 3870588"/>
              <a:gd name="connsiteX1" fmla="*/ 3079143 w 5155503"/>
              <a:gd name="connsiteY1" fmla="*/ 36322 h 3870588"/>
              <a:gd name="connsiteX2" fmla="*/ 5055926 w 5155503"/>
              <a:gd name="connsiteY2" fmla="*/ 3732774 h 3870588"/>
              <a:gd name="connsiteX3" fmla="*/ 139833 w 5155503"/>
              <a:gd name="connsiteY3" fmla="*/ 2577742 h 3870588"/>
              <a:gd name="connsiteX0" fmla="*/ 26029 w 5061836"/>
              <a:gd name="connsiteY0" fmla="*/ 2477397 h 3730043"/>
              <a:gd name="connsiteX1" fmla="*/ 3141802 w 5061836"/>
              <a:gd name="connsiteY1" fmla="*/ 32230 h 3730043"/>
              <a:gd name="connsiteX2" fmla="*/ 4942122 w 5061836"/>
              <a:gd name="connsiteY2" fmla="*/ 3632429 h 3730043"/>
              <a:gd name="connsiteX3" fmla="*/ 26029 w 5061836"/>
              <a:gd name="connsiteY3" fmla="*/ 2477397 h 3730043"/>
              <a:gd name="connsiteX0" fmla="*/ 116397 w 5152204"/>
              <a:gd name="connsiteY0" fmla="*/ 2487445 h 3802029"/>
              <a:gd name="connsiteX1" fmla="*/ 3232170 w 5152204"/>
              <a:gd name="connsiteY1" fmla="*/ 42278 h 3802029"/>
              <a:gd name="connsiteX2" fmla="*/ 5032490 w 5152204"/>
              <a:gd name="connsiteY2" fmla="*/ 3642477 h 3802029"/>
              <a:gd name="connsiteX3" fmla="*/ 116397 w 5152204"/>
              <a:gd name="connsiteY3" fmla="*/ 2487445 h 3802029"/>
              <a:gd name="connsiteX0" fmla="*/ 116397 w 5311374"/>
              <a:gd name="connsiteY0" fmla="*/ 2487445 h 3961862"/>
              <a:gd name="connsiteX1" fmla="*/ 3232170 w 5311374"/>
              <a:gd name="connsiteY1" fmla="*/ 42278 h 3961862"/>
              <a:gd name="connsiteX2" fmla="*/ 5032490 w 5311374"/>
              <a:gd name="connsiteY2" fmla="*/ 3642477 h 3961862"/>
              <a:gd name="connsiteX3" fmla="*/ 116397 w 5311374"/>
              <a:gd name="connsiteY3" fmla="*/ 2487445 h 3961862"/>
              <a:gd name="connsiteX0" fmla="*/ 33816 w 5047402"/>
              <a:gd name="connsiteY0" fmla="*/ 3234353 h 4544470"/>
              <a:gd name="connsiteX1" fmla="*/ 2953052 w 5047402"/>
              <a:gd name="connsiteY1" fmla="*/ 25473 h 4544470"/>
              <a:gd name="connsiteX2" fmla="*/ 4949909 w 5047402"/>
              <a:gd name="connsiteY2" fmla="*/ 4389385 h 4544470"/>
              <a:gd name="connsiteX3" fmla="*/ 33816 w 5047402"/>
              <a:gd name="connsiteY3" fmla="*/ 3234353 h 4544470"/>
              <a:gd name="connsiteX0" fmla="*/ 51952 w 5065538"/>
              <a:gd name="connsiteY0" fmla="*/ 3240171 h 4628936"/>
              <a:gd name="connsiteX1" fmla="*/ 2971188 w 5065538"/>
              <a:gd name="connsiteY1" fmla="*/ 31291 h 4628936"/>
              <a:gd name="connsiteX2" fmla="*/ 4968045 w 5065538"/>
              <a:gd name="connsiteY2" fmla="*/ 4395203 h 4628936"/>
              <a:gd name="connsiteX3" fmla="*/ 51952 w 5065538"/>
              <a:gd name="connsiteY3" fmla="*/ 3240171 h 4628936"/>
              <a:gd name="connsiteX0" fmla="*/ 51952 w 5393218"/>
              <a:gd name="connsiteY0" fmla="*/ 3240171 h 5081380"/>
              <a:gd name="connsiteX1" fmla="*/ 2971188 w 5393218"/>
              <a:gd name="connsiteY1" fmla="*/ 31291 h 5081380"/>
              <a:gd name="connsiteX2" fmla="*/ 4968045 w 5393218"/>
              <a:gd name="connsiteY2" fmla="*/ 4395203 h 5081380"/>
              <a:gd name="connsiteX3" fmla="*/ 51952 w 5393218"/>
              <a:gd name="connsiteY3" fmla="*/ 3240171 h 5081380"/>
              <a:gd name="connsiteX0" fmla="*/ 21176 w 5076250"/>
              <a:gd name="connsiteY0" fmla="*/ 3171600 h 4476643"/>
              <a:gd name="connsiteX1" fmla="*/ 3281878 w 5076250"/>
              <a:gd name="connsiteY1" fmla="*/ 25924 h 4476643"/>
              <a:gd name="connsiteX2" fmla="*/ 4937269 w 5076250"/>
              <a:gd name="connsiteY2" fmla="*/ 4326632 h 4476643"/>
              <a:gd name="connsiteX3" fmla="*/ 21176 w 5076250"/>
              <a:gd name="connsiteY3" fmla="*/ 3171600 h 4476643"/>
              <a:gd name="connsiteX0" fmla="*/ 21176 w 5399462"/>
              <a:gd name="connsiteY0" fmla="*/ 3171600 h 4810123"/>
              <a:gd name="connsiteX1" fmla="*/ 3281878 w 5399462"/>
              <a:gd name="connsiteY1" fmla="*/ 25924 h 4810123"/>
              <a:gd name="connsiteX2" fmla="*/ 4937269 w 5399462"/>
              <a:gd name="connsiteY2" fmla="*/ 4326632 h 4810123"/>
              <a:gd name="connsiteX3" fmla="*/ 21176 w 5399462"/>
              <a:gd name="connsiteY3" fmla="*/ 3171600 h 4810123"/>
            </a:gdLst>
            <a:ahLst/>
            <a:cxnLst>
              <a:cxn ang="0">
                <a:pos x="connsiteX0" y="connsiteY0"/>
              </a:cxn>
              <a:cxn ang="0">
                <a:pos x="connsiteX1" y="connsiteY1"/>
              </a:cxn>
              <a:cxn ang="0">
                <a:pos x="connsiteX2" y="connsiteY2"/>
              </a:cxn>
              <a:cxn ang="0">
                <a:pos x="connsiteX3" y="connsiteY3"/>
              </a:cxn>
            </a:cxnLst>
            <a:rect l="l" t="t" r="r" b="b"/>
            <a:pathLst>
              <a:path w="5399462" h="4810123">
                <a:moveTo>
                  <a:pt x="21176" y="3171600"/>
                </a:moveTo>
                <a:cubicBezTo>
                  <a:pt x="-254722" y="2454815"/>
                  <a:pt x="2237939" y="-294918"/>
                  <a:pt x="3281878" y="25924"/>
                </a:cubicBezTo>
                <a:cubicBezTo>
                  <a:pt x="4325817" y="346766"/>
                  <a:pt x="6296743" y="2993163"/>
                  <a:pt x="4937269" y="4326632"/>
                </a:cubicBezTo>
                <a:cubicBezTo>
                  <a:pt x="3577795" y="5660101"/>
                  <a:pt x="297074" y="3888385"/>
                  <a:pt x="21176" y="3171600"/>
                </a:cubicBezTo>
                <a:close/>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 name="Triangle 2">
            <a:extLst>
              <a:ext uri="{FF2B5EF4-FFF2-40B4-BE49-F238E27FC236}">
                <a16:creationId xmlns:a16="http://schemas.microsoft.com/office/drawing/2014/main" id="{899BE460-409B-EAFF-B70B-23B36E66364A}"/>
              </a:ext>
            </a:extLst>
          </p:cNvPr>
          <p:cNvSpPr/>
          <p:nvPr userDrawn="1"/>
        </p:nvSpPr>
        <p:spPr>
          <a:xfrm rot="7688314">
            <a:off x="2850173" y="4186161"/>
            <a:ext cx="1540625" cy="998679"/>
          </a:xfrm>
          <a:custGeom>
            <a:avLst/>
            <a:gdLst>
              <a:gd name="connsiteX0" fmla="*/ 0 w 4306493"/>
              <a:gd name="connsiteY0" fmla="*/ 3712494 h 3712494"/>
              <a:gd name="connsiteX1" fmla="*/ 2153247 w 4306493"/>
              <a:gd name="connsiteY1" fmla="*/ 0 h 3712494"/>
              <a:gd name="connsiteX2" fmla="*/ 4306493 w 4306493"/>
              <a:gd name="connsiteY2" fmla="*/ 3712494 h 3712494"/>
              <a:gd name="connsiteX3" fmla="*/ 0 w 4306493"/>
              <a:gd name="connsiteY3" fmla="*/ 3712494 h 3712494"/>
              <a:gd name="connsiteX0" fmla="*/ 0 w 4306493"/>
              <a:gd name="connsiteY0" fmla="*/ 3696452 h 3696452"/>
              <a:gd name="connsiteX1" fmla="*/ 2329710 w 4306493"/>
              <a:gd name="connsiteY1" fmla="*/ 0 h 3696452"/>
              <a:gd name="connsiteX2" fmla="*/ 4306493 w 4306493"/>
              <a:gd name="connsiteY2" fmla="*/ 3696452 h 3696452"/>
              <a:gd name="connsiteX3" fmla="*/ 0 w 4306493"/>
              <a:gd name="connsiteY3" fmla="*/ 3696452 h 3696452"/>
              <a:gd name="connsiteX0" fmla="*/ 37309 w 4402235"/>
              <a:gd name="connsiteY0" fmla="*/ 3696452 h 3696452"/>
              <a:gd name="connsiteX1" fmla="*/ 2367019 w 4402235"/>
              <a:gd name="connsiteY1" fmla="*/ 0 h 3696452"/>
              <a:gd name="connsiteX2" fmla="*/ 4343802 w 4402235"/>
              <a:gd name="connsiteY2" fmla="*/ 3696452 h 3696452"/>
              <a:gd name="connsiteX3" fmla="*/ 37309 w 4402235"/>
              <a:gd name="connsiteY3" fmla="*/ 3696452 h 3696452"/>
              <a:gd name="connsiteX0" fmla="*/ 37309 w 4758551"/>
              <a:gd name="connsiteY0" fmla="*/ 3696452 h 3696452"/>
              <a:gd name="connsiteX1" fmla="*/ 2367019 w 4758551"/>
              <a:gd name="connsiteY1" fmla="*/ 0 h 3696452"/>
              <a:gd name="connsiteX2" fmla="*/ 4343802 w 4758551"/>
              <a:gd name="connsiteY2" fmla="*/ 3696452 h 3696452"/>
              <a:gd name="connsiteX3" fmla="*/ 37309 w 4758551"/>
              <a:gd name="connsiteY3" fmla="*/ 3696452 h 3696452"/>
              <a:gd name="connsiteX0" fmla="*/ 379572 w 5100814"/>
              <a:gd name="connsiteY0" fmla="*/ 3696452 h 3696452"/>
              <a:gd name="connsiteX1" fmla="*/ 2709282 w 5100814"/>
              <a:gd name="connsiteY1" fmla="*/ 0 h 3696452"/>
              <a:gd name="connsiteX2" fmla="*/ 4686065 w 5100814"/>
              <a:gd name="connsiteY2" fmla="*/ 3696452 h 3696452"/>
              <a:gd name="connsiteX3" fmla="*/ 379572 w 5100814"/>
              <a:gd name="connsiteY3" fmla="*/ 3696452 h 3696452"/>
              <a:gd name="connsiteX0" fmla="*/ 527795 w 5425824"/>
              <a:gd name="connsiteY0" fmla="*/ 3696657 h 3696657"/>
              <a:gd name="connsiteX1" fmla="*/ 2857505 w 5425824"/>
              <a:gd name="connsiteY1" fmla="*/ 205 h 3696657"/>
              <a:gd name="connsiteX2" fmla="*/ 4834288 w 5425824"/>
              <a:gd name="connsiteY2" fmla="*/ 3696657 h 3696657"/>
              <a:gd name="connsiteX3" fmla="*/ 527795 w 5425824"/>
              <a:gd name="connsiteY3" fmla="*/ 3696657 h 3696657"/>
              <a:gd name="connsiteX0" fmla="*/ 507350 w 5405379"/>
              <a:gd name="connsiteY0" fmla="*/ 3696679 h 3853535"/>
              <a:gd name="connsiteX1" fmla="*/ 2837060 w 5405379"/>
              <a:gd name="connsiteY1" fmla="*/ 227 h 3853535"/>
              <a:gd name="connsiteX2" fmla="*/ 4813843 w 5405379"/>
              <a:gd name="connsiteY2" fmla="*/ 3696679 h 3853535"/>
              <a:gd name="connsiteX3" fmla="*/ 507350 w 5405379"/>
              <a:gd name="connsiteY3" fmla="*/ 3696679 h 3853535"/>
              <a:gd name="connsiteX0" fmla="*/ 321130 w 5326541"/>
              <a:gd name="connsiteY0" fmla="*/ 2552473 h 3795422"/>
              <a:gd name="connsiteX1" fmla="*/ 3260440 w 5326541"/>
              <a:gd name="connsiteY1" fmla="*/ 11053 h 3795422"/>
              <a:gd name="connsiteX2" fmla="*/ 5237223 w 5326541"/>
              <a:gd name="connsiteY2" fmla="*/ 3707505 h 3795422"/>
              <a:gd name="connsiteX3" fmla="*/ 321130 w 5326541"/>
              <a:gd name="connsiteY3" fmla="*/ 2552473 h 3795422"/>
              <a:gd name="connsiteX0" fmla="*/ 131275 w 5136686"/>
              <a:gd name="connsiteY0" fmla="*/ 2556035 h 3848881"/>
              <a:gd name="connsiteX1" fmla="*/ 3070585 w 5136686"/>
              <a:gd name="connsiteY1" fmla="*/ 14615 h 3848881"/>
              <a:gd name="connsiteX2" fmla="*/ 5047368 w 5136686"/>
              <a:gd name="connsiteY2" fmla="*/ 3711067 h 3848881"/>
              <a:gd name="connsiteX3" fmla="*/ 131275 w 5136686"/>
              <a:gd name="connsiteY3" fmla="*/ 2556035 h 3848881"/>
              <a:gd name="connsiteX0" fmla="*/ 139833 w 5155503"/>
              <a:gd name="connsiteY0" fmla="*/ 2577742 h 3870588"/>
              <a:gd name="connsiteX1" fmla="*/ 3079143 w 5155503"/>
              <a:gd name="connsiteY1" fmla="*/ 36322 h 3870588"/>
              <a:gd name="connsiteX2" fmla="*/ 5055926 w 5155503"/>
              <a:gd name="connsiteY2" fmla="*/ 3732774 h 3870588"/>
              <a:gd name="connsiteX3" fmla="*/ 139833 w 5155503"/>
              <a:gd name="connsiteY3" fmla="*/ 2577742 h 3870588"/>
              <a:gd name="connsiteX0" fmla="*/ 26029 w 5061836"/>
              <a:gd name="connsiteY0" fmla="*/ 2477397 h 3730043"/>
              <a:gd name="connsiteX1" fmla="*/ 3141802 w 5061836"/>
              <a:gd name="connsiteY1" fmla="*/ 32230 h 3730043"/>
              <a:gd name="connsiteX2" fmla="*/ 4942122 w 5061836"/>
              <a:gd name="connsiteY2" fmla="*/ 3632429 h 3730043"/>
              <a:gd name="connsiteX3" fmla="*/ 26029 w 5061836"/>
              <a:gd name="connsiteY3" fmla="*/ 2477397 h 3730043"/>
              <a:gd name="connsiteX0" fmla="*/ 116397 w 5152204"/>
              <a:gd name="connsiteY0" fmla="*/ 2487445 h 3802029"/>
              <a:gd name="connsiteX1" fmla="*/ 3232170 w 5152204"/>
              <a:gd name="connsiteY1" fmla="*/ 42278 h 3802029"/>
              <a:gd name="connsiteX2" fmla="*/ 5032490 w 5152204"/>
              <a:gd name="connsiteY2" fmla="*/ 3642477 h 3802029"/>
              <a:gd name="connsiteX3" fmla="*/ 116397 w 5152204"/>
              <a:gd name="connsiteY3" fmla="*/ 2487445 h 3802029"/>
              <a:gd name="connsiteX0" fmla="*/ 116397 w 5311374"/>
              <a:gd name="connsiteY0" fmla="*/ 2487445 h 3961862"/>
              <a:gd name="connsiteX1" fmla="*/ 3232170 w 5311374"/>
              <a:gd name="connsiteY1" fmla="*/ 42278 h 3961862"/>
              <a:gd name="connsiteX2" fmla="*/ 5032490 w 5311374"/>
              <a:gd name="connsiteY2" fmla="*/ 3642477 h 3961862"/>
              <a:gd name="connsiteX3" fmla="*/ 116397 w 5311374"/>
              <a:gd name="connsiteY3" fmla="*/ 2487445 h 3961862"/>
            </a:gdLst>
            <a:ahLst/>
            <a:cxnLst>
              <a:cxn ang="0">
                <a:pos x="connsiteX0" y="connsiteY0"/>
              </a:cxn>
              <a:cxn ang="0">
                <a:pos x="connsiteX1" y="connsiteY1"/>
              </a:cxn>
              <a:cxn ang="0">
                <a:pos x="connsiteX2" y="connsiteY2"/>
              </a:cxn>
              <a:cxn ang="0">
                <a:pos x="connsiteX3" y="connsiteY3"/>
              </a:cxn>
            </a:cxnLst>
            <a:rect l="l" t="t" r="r" b="b"/>
            <a:pathLst>
              <a:path w="5311374" h="3961862">
                <a:moveTo>
                  <a:pt x="116397" y="2487445"/>
                </a:moveTo>
                <a:cubicBezTo>
                  <a:pt x="-600751" y="1293854"/>
                  <a:pt x="2188231" y="-278564"/>
                  <a:pt x="3232170" y="42278"/>
                </a:cubicBezTo>
                <a:cubicBezTo>
                  <a:pt x="4276109" y="363120"/>
                  <a:pt x="5984922" y="2865980"/>
                  <a:pt x="5032490" y="3642477"/>
                </a:cubicBezTo>
                <a:cubicBezTo>
                  <a:pt x="4080058" y="4418974"/>
                  <a:pt x="833545" y="3681036"/>
                  <a:pt x="116397" y="2487445"/>
                </a:cubicBezTo>
                <a:close/>
              </a:path>
            </a:pathLst>
          </a:cu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4" name="Oval 7">
            <a:extLst>
              <a:ext uri="{FF2B5EF4-FFF2-40B4-BE49-F238E27FC236}">
                <a16:creationId xmlns:a16="http://schemas.microsoft.com/office/drawing/2014/main" id="{3035E686-44F8-5A97-3FA3-FB72E8A42E52}"/>
              </a:ext>
            </a:extLst>
          </p:cNvPr>
          <p:cNvSpPr/>
          <p:nvPr userDrawn="1"/>
        </p:nvSpPr>
        <p:spPr>
          <a:xfrm rot="18434137">
            <a:off x="451956" y="4192461"/>
            <a:ext cx="1375578" cy="866841"/>
          </a:xfrm>
          <a:custGeom>
            <a:avLst/>
            <a:gdLst>
              <a:gd name="connsiteX0" fmla="*/ 0 w 1850045"/>
              <a:gd name="connsiteY0" fmla="*/ 925023 h 1850045"/>
              <a:gd name="connsiteX1" fmla="*/ 925023 w 1850045"/>
              <a:gd name="connsiteY1" fmla="*/ 0 h 1850045"/>
              <a:gd name="connsiteX2" fmla="*/ 1850046 w 1850045"/>
              <a:gd name="connsiteY2" fmla="*/ 925023 h 1850045"/>
              <a:gd name="connsiteX3" fmla="*/ 925023 w 1850045"/>
              <a:gd name="connsiteY3" fmla="*/ 1850046 h 1850045"/>
              <a:gd name="connsiteX4" fmla="*/ 0 w 1850045"/>
              <a:gd name="connsiteY4" fmla="*/ 925023 h 1850045"/>
              <a:gd name="connsiteX0" fmla="*/ 0 w 1850046"/>
              <a:gd name="connsiteY0" fmla="*/ 843743 h 1768766"/>
              <a:gd name="connsiteX1" fmla="*/ 925023 w 1850046"/>
              <a:gd name="connsiteY1" fmla="*/ 0 h 1768766"/>
              <a:gd name="connsiteX2" fmla="*/ 1850046 w 1850046"/>
              <a:gd name="connsiteY2" fmla="*/ 843743 h 1768766"/>
              <a:gd name="connsiteX3" fmla="*/ 925023 w 1850046"/>
              <a:gd name="connsiteY3" fmla="*/ 1768766 h 1768766"/>
              <a:gd name="connsiteX4" fmla="*/ 0 w 1850046"/>
              <a:gd name="connsiteY4" fmla="*/ 843743 h 1768766"/>
              <a:gd name="connsiteX0" fmla="*/ 5 w 1850051"/>
              <a:gd name="connsiteY0" fmla="*/ 843743 h 1657006"/>
              <a:gd name="connsiteX1" fmla="*/ 925028 w 1850051"/>
              <a:gd name="connsiteY1" fmla="*/ 0 h 1657006"/>
              <a:gd name="connsiteX2" fmla="*/ 1850051 w 1850051"/>
              <a:gd name="connsiteY2" fmla="*/ 843743 h 1657006"/>
              <a:gd name="connsiteX3" fmla="*/ 935188 w 1850051"/>
              <a:gd name="connsiteY3" fmla="*/ 1657006 h 1657006"/>
              <a:gd name="connsiteX4" fmla="*/ 5 w 1850051"/>
              <a:gd name="connsiteY4" fmla="*/ 843743 h 1657006"/>
              <a:gd name="connsiteX0" fmla="*/ 2 w 1971968"/>
              <a:gd name="connsiteY0" fmla="*/ 843743 h 1657006"/>
              <a:gd name="connsiteX1" fmla="*/ 1046945 w 1971968"/>
              <a:gd name="connsiteY1" fmla="*/ 0 h 1657006"/>
              <a:gd name="connsiteX2" fmla="*/ 1971968 w 1971968"/>
              <a:gd name="connsiteY2" fmla="*/ 843743 h 1657006"/>
              <a:gd name="connsiteX3" fmla="*/ 1057105 w 1971968"/>
              <a:gd name="connsiteY3" fmla="*/ 1657006 h 1657006"/>
              <a:gd name="connsiteX4" fmla="*/ 2 w 1971968"/>
              <a:gd name="connsiteY4" fmla="*/ 843743 h 1657006"/>
              <a:gd name="connsiteX0" fmla="*/ 142 w 1972108"/>
              <a:gd name="connsiteY0" fmla="*/ 843743 h 1657006"/>
              <a:gd name="connsiteX1" fmla="*/ 1047085 w 1972108"/>
              <a:gd name="connsiteY1" fmla="*/ 0 h 1657006"/>
              <a:gd name="connsiteX2" fmla="*/ 1972108 w 1972108"/>
              <a:gd name="connsiteY2" fmla="*/ 843743 h 1657006"/>
              <a:gd name="connsiteX3" fmla="*/ 1057245 w 1972108"/>
              <a:gd name="connsiteY3" fmla="*/ 1657006 h 1657006"/>
              <a:gd name="connsiteX4" fmla="*/ 142 w 1972108"/>
              <a:gd name="connsiteY4" fmla="*/ 843743 h 1657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2108" h="1657006">
                <a:moveTo>
                  <a:pt x="142" y="843743"/>
                </a:moveTo>
                <a:cubicBezTo>
                  <a:pt x="-11711" y="272935"/>
                  <a:pt x="718424" y="0"/>
                  <a:pt x="1047085" y="0"/>
                </a:cubicBezTo>
                <a:cubicBezTo>
                  <a:pt x="1375746" y="0"/>
                  <a:pt x="1972108" y="332867"/>
                  <a:pt x="1972108" y="843743"/>
                </a:cubicBezTo>
                <a:cubicBezTo>
                  <a:pt x="1972108" y="1354619"/>
                  <a:pt x="1385906" y="1657006"/>
                  <a:pt x="1057245" y="1657006"/>
                </a:cubicBezTo>
                <a:cubicBezTo>
                  <a:pt x="728584" y="1657006"/>
                  <a:pt x="11995" y="1414551"/>
                  <a:pt x="142" y="843743"/>
                </a:cubicBezTo>
                <a:close/>
              </a:path>
            </a:pathLst>
          </a:cu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2" name="Oval 17">
            <a:extLst>
              <a:ext uri="{FF2B5EF4-FFF2-40B4-BE49-F238E27FC236}">
                <a16:creationId xmlns:a16="http://schemas.microsoft.com/office/drawing/2014/main" id="{D127E5D0-1987-2A45-7EB8-D0449FBDBB48}"/>
              </a:ext>
            </a:extLst>
          </p:cNvPr>
          <p:cNvSpPr/>
          <p:nvPr userDrawn="1"/>
        </p:nvSpPr>
        <p:spPr>
          <a:xfrm rot="2441864">
            <a:off x="5051868" y="3720682"/>
            <a:ext cx="1044377" cy="1487398"/>
          </a:xfrm>
          <a:custGeom>
            <a:avLst/>
            <a:gdLst>
              <a:gd name="connsiteX0" fmla="*/ 0 w 1850045"/>
              <a:gd name="connsiteY0" fmla="*/ 925023 h 1850045"/>
              <a:gd name="connsiteX1" fmla="*/ 925023 w 1850045"/>
              <a:gd name="connsiteY1" fmla="*/ 0 h 1850045"/>
              <a:gd name="connsiteX2" fmla="*/ 1850046 w 1850045"/>
              <a:gd name="connsiteY2" fmla="*/ 925023 h 1850045"/>
              <a:gd name="connsiteX3" fmla="*/ 925023 w 1850045"/>
              <a:gd name="connsiteY3" fmla="*/ 1850046 h 1850045"/>
              <a:gd name="connsiteX4" fmla="*/ 0 w 1850045"/>
              <a:gd name="connsiteY4" fmla="*/ 925023 h 1850045"/>
              <a:gd name="connsiteX0" fmla="*/ 5 w 1850051"/>
              <a:gd name="connsiteY0" fmla="*/ 985983 h 1911006"/>
              <a:gd name="connsiteX1" fmla="*/ 914868 w 1850051"/>
              <a:gd name="connsiteY1" fmla="*/ 0 h 1911006"/>
              <a:gd name="connsiteX2" fmla="*/ 1850051 w 1850051"/>
              <a:gd name="connsiteY2" fmla="*/ 985983 h 1911006"/>
              <a:gd name="connsiteX3" fmla="*/ 925028 w 1850051"/>
              <a:gd name="connsiteY3" fmla="*/ 1911006 h 1911006"/>
              <a:gd name="connsiteX4" fmla="*/ 5 w 1850051"/>
              <a:gd name="connsiteY4" fmla="*/ 985983 h 1911006"/>
              <a:gd name="connsiteX0" fmla="*/ 4 w 1789090"/>
              <a:gd name="connsiteY0" fmla="*/ 996147 h 1911013"/>
              <a:gd name="connsiteX1" fmla="*/ 853907 w 1789090"/>
              <a:gd name="connsiteY1" fmla="*/ 4 h 1911013"/>
              <a:gd name="connsiteX2" fmla="*/ 1789090 w 1789090"/>
              <a:gd name="connsiteY2" fmla="*/ 985987 h 1911013"/>
              <a:gd name="connsiteX3" fmla="*/ 864067 w 1789090"/>
              <a:gd name="connsiteY3" fmla="*/ 1911010 h 1911013"/>
              <a:gd name="connsiteX4" fmla="*/ 4 w 1789090"/>
              <a:gd name="connsiteY4" fmla="*/ 996147 h 1911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090" h="1911013">
                <a:moveTo>
                  <a:pt x="4" y="996147"/>
                </a:moveTo>
                <a:cubicBezTo>
                  <a:pt x="-1689" y="677646"/>
                  <a:pt x="555726" y="1697"/>
                  <a:pt x="853907" y="4"/>
                </a:cubicBezTo>
                <a:cubicBezTo>
                  <a:pt x="1152088" y="-1689"/>
                  <a:pt x="1789090" y="475111"/>
                  <a:pt x="1789090" y="985987"/>
                </a:cubicBezTo>
                <a:cubicBezTo>
                  <a:pt x="1789090" y="1496863"/>
                  <a:pt x="1162248" y="1909317"/>
                  <a:pt x="864067" y="1911010"/>
                </a:cubicBezTo>
                <a:cubicBezTo>
                  <a:pt x="565886" y="1912703"/>
                  <a:pt x="1697" y="1314648"/>
                  <a:pt x="4" y="996147"/>
                </a:cubicBezTo>
                <a:close/>
              </a:path>
            </a:pathLst>
          </a:cu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53" name="Text Placeholder 39">
            <a:extLst>
              <a:ext uri="{FF2B5EF4-FFF2-40B4-BE49-F238E27FC236}">
                <a16:creationId xmlns:a16="http://schemas.microsoft.com/office/drawing/2014/main" id="{4C8D3C29-A697-666D-CCB1-4A2885EA035A}"/>
              </a:ext>
            </a:extLst>
          </p:cNvPr>
          <p:cNvSpPr>
            <a:spLocks noGrp="1"/>
          </p:cNvSpPr>
          <p:nvPr>
            <p:ph type="body" sz="quarter" idx="25"/>
          </p:nvPr>
        </p:nvSpPr>
        <p:spPr>
          <a:xfrm>
            <a:off x="387178" y="5532120"/>
            <a:ext cx="1851660" cy="182880"/>
          </a:xfrm>
        </p:spPr>
        <p:txBody>
          <a:bodyPr anchor="ctr">
            <a:noAutofit/>
          </a:bodyPr>
          <a:lstStyle>
            <a:lvl1pPr marL="0" indent="0" algn="ctr">
              <a:lnSpc>
                <a:spcPct val="100000"/>
              </a:lnSpc>
              <a:buNone/>
              <a:defRPr sz="120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54" name="Text Placeholder 39">
            <a:extLst>
              <a:ext uri="{FF2B5EF4-FFF2-40B4-BE49-F238E27FC236}">
                <a16:creationId xmlns:a16="http://schemas.microsoft.com/office/drawing/2014/main" id="{95EFF18A-456F-0200-6F0B-FFE00AABB353}"/>
              </a:ext>
            </a:extLst>
          </p:cNvPr>
          <p:cNvSpPr>
            <a:spLocks noGrp="1"/>
          </p:cNvSpPr>
          <p:nvPr>
            <p:ph type="body" sz="quarter" idx="26"/>
          </p:nvPr>
        </p:nvSpPr>
        <p:spPr>
          <a:xfrm>
            <a:off x="2574591" y="5532120"/>
            <a:ext cx="1851660" cy="182880"/>
          </a:xfrm>
        </p:spPr>
        <p:txBody>
          <a:bodyPr anchor="ctr">
            <a:noAutofit/>
          </a:bodyPr>
          <a:lstStyle>
            <a:lvl1pPr marL="0" indent="0" algn="ctr">
              <a:lnSpc>
                <a:spcPct val="100000"/>
              </a:lnSpc>
              <a:buNone/>
              <a:defRPr sz="120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55" name="Text Placeholder 39">
            <a:extLst>
              <a:ext uri="{FF2B5EF4-FFF2-40B4-BE49-F238E27FC236}">
                <a16:creationId xmlns:a16="http://schemas.microsoft.com/office/drawing/2014/main" id="{D97A0A6E-7520-5FDB-915E-DA998056CA9A}"/>
              </a:ext>
            </a:extLst>
          </p:cNvPr>
          <p:cNvSpPr>
            <a:spLocks noGrp="1"/>
          </p:cNvSpPr>
          <p:nvPr>
            <p:ph type="body" sz="quarter" idx="27"/>
          </p:nvPr>
        </p:nvSpPr>
        <p:spPr>
          <a:xfrm>
            <a:off x="4755471" y="5532120"/>
            <a:ext cx="1851660" cy="182880"/>
          </a:xfrm>
        </p:spPr>
        <p:txBody>
          <a:bodyPr anchor="ctr">
            <a:noAutofit/>
          </a:bodyPr>
          <a:lstStyle>
            <a:lvl1pPr marL="0" indent="0" algn="ctr">
              <a:lnSpc>
                <a:spcPct val="100000"/>
              </a:lnSpc>
              <a:buNone/>
              <a:defRPr sz="120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56" name="Text Placeholder 39">
            <a:extLst>
              <a:ext uri="{FF2B5EF4-FFF2-40B4-BE49-F238E27FC236}">
                <a16:creationId xmlns:a16="http://schemas.microsoft.com/office/drawing/2014/main" id="{C37FCE37-F31D-5F55-D8F0-24FE150D1912}"/>
              </a:ext>
            </a:extLst>
          </p:cNvPr>
          <p:cNvSpPr>
            <a:spLocks noGrp="1"/>
          </p:cNvSpPr>
          <p:nvPr>
            <p:ph type="body" sz="quarter" idx="28"/>
          </p:nvPr>
        </p:nvSpPr>
        <p:spPr>
          <a:xfrm>
            <a:off x="6936351" y="5532120"/>
            <a:ext cx="1851660" cy="182880"/>
          </a:xfrm>
        </p:spPr>
        <p:txBody>
          <a:bodyPr anchor="ctr">
            <a:noAutofit/>
          </a:bodyPr>
          <a:lstStyle>
            <a:lvl1pPr marL="0" indent="0" algn="ctr">
              <a:lnSpc>
                <a:spcPct val="100000"/>
              </a:lnSpc>
              <a:buNone/>
              <a:defRPr sz="1200" b="1">
                <a:latin typeface="Source Sans Pro" panose="020B0503030403020204" pitchFamily="34" charset="0"/>
                <a:ea typeface="Source Sans Pro" panose="020B0503030403020204" pitchFamily="34" charset="0"/>
              </a:defRPr>
            </a:lvl1pPr>
          </a:lstStyle>
          <a:p>
            <a:pPr lvl="0"/>
            <a:r>
              <a:rPr lang="en-US"/>
              <a:t>Click to edit Master text styles</a:t>
            </a:r>
          </a:p>
        </p:txBody>
      </p:sp>
      <p:sp>
        <p:nvSpPr>
          <p:cNvPr id="57" name="Text Placeholder 39">
            <a:extLst>
              <a:ext uri="{FF2B5EF4-FFF2-40B4-BE49-F238E27FC236}">
                <a16:creationId xmlns:a16="http://schemas.microsoft.com/office/drawing/2014/main" id="{7B61BDA2-E2F8-1D34-2D71-2C1EE07F82BF}"/>
              </a:ext>
            </a:extLst>
          </p:cNvPr>
          <p:cNvSpPr>
            <a:spLocks noGrp="1"/>
          </p:cNvSpPr>
          <p:nvPr>
            <p:ph type="body" sz="quarter" idx="29"/>
          </p:nvPr>
        </p:nvSpPr>
        <p:spPr>
          <a:xfrm>
            <a:off x="387178" y="5751576"/>
            <a:ext cx="1851660" cy="265176"/>
          </a:xfrm>
        </p:spPr>
        <p:txBody>
          <a:bodyPr anchor="ctr">
            <a:noAutofit/>
          </a:bodyPr>
          <a:lstStyle>
            <a:lvl1pPr marL="0" indent="0" algn="ctr">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58" name="Text Placeholder 39">
            <a:extLst>
              <a:ext uri="{FF2B5EF4-FFF2-40B4-BE49-F238E27FC236}">
                <a16:creationId xmlns:a16="http://schemas.microsoft.com/office/drawing/2014/main" id="{C5F4B246-3602-89ED-3E0A-8662A66D2414}"/>
              </a:ext>
            </a:extLst>
          </p:cNvPr>
          <p:cNvSpPr>
            <a:spLocks noGrp="1"/>
          </p:cNvSpPr>
          <p:nvPr>
            <p:ph type="body" sz="quarter" idx="30"/>
          </p:nvPr>
        </p:nvSpPr>
        <p:spPr>
          <a:xfrm>
            <a:off x="2574591" y="5751576"/>
            <a:ext cx="1851660" cy="265176"/>
          </a:xfrm>
        </p:spPr>
        <p:txBody>
          <a:bodyPr anchor="ctr">
            <a:noAutofit/>
          </a:bodyPr>
          <a:lstStyle>
            <a:lvl1pPr marL="0" indent="0" algn="ctr">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59" name="Text Placeholder 39">
            <a:extLst>
              <a:ext uri="{FF2B5EF4-FFF2-40B4-BE49-F238E27FC236}">
                <a16:creationId xmlns:a16="http://schemas.microsoft.com/office/drawing/2014/main" id="{B6972967-A0A0-D74B-DB32-270A049FA890}"/>
              </a:ext>
            </a:extLst>
          </p:cNvPr>
          <p:cNvSpPr>
            <a:spLocks noGrp="1"/>
          </p:cNvSpPr>
          <p:nvPr>
            <p:ph type="body" sz="quarter" idx="31"/>
          </p:nvPr>
        </p:nvSpPr>
        <p:spPr>
          <a:xfrm>
            <a:off x="4755471" y="5751576"/>
            <a:ext cx="1851660" cy="265176"/>
          </a:xfrm>
        </p:spPr>
        <p:txBody>
          <a:bodyPr anchor="ctr">
            <a:noAutofit/>
          </a:bodyPr>
          <a:lstStyle>
            <a:lvl1pPr marL="0" indent="0" algn="ctr">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60" name="Text Placeholder 39">
            <a:extLst>
              <a:ext uri="{FF2B5EF4-FFF2-40B4-BE49-F238E27FC236}">
                <a16:creationId xmlns:a16="http://schemas.microsoft.com/office/drawing/2014/main" id="{68A46AB3-440A-EDBD-9522-2CEFD92EAF0E}"/>
              </a:ext>
            </a:extLst>
          </p:cNvPr>
          <p:cNvSpPr>
            <a:spLocks noGrp="1"/>
          </p:cNvSpPr>
          <p:nvPr>
            <p:ph type="body" sz="quarter" idx="32"/>
          </p:nvPr>
        </p:nvSpPr>
        <p:spPr>
          <a:xfrm>
            <a:off x="6936351" y="5751576"/>
            <a:ext cx="1851660" cy="265176"/>
          </a:xfrm>
        </p:spPr>
        <p:txBody>
          <a:bodyPr anchor="ctr">
            <a:noAutofit/>
          </a:bodyPr>
          <a:lstStyle>
            <a:lvl1pPr marL="0" indent="0" algn="ctr">
              <a:lnSpc>
                <a:spcPct val="100000"/>
              </a:lnSpc>
              <a:buNone/>
              <a:defRPr sz="1050" b="0">
                <a:solidFill>
                  <a:schemeClr val="tx2"/>
                </a:solidFill>
                <a:latin typeface="+mn-lt"/>
                <a:ea typeface="Source Sans Pro" panose="020B0503030403020204" pitchFamily="34" charset="0"/>
              </a:defRPr>
            </a:lvl1pPr>
          </a:lstStyle>
          <a:p>
            <a:pPr lvl="0"/>
            <a:r>
              <a:rPr lang="en-US"/>
              <a:t>Click to edit Master text styles</a:t>
            </a:r>
          </a:p>
        </p:txBody>
      </p:sp>
      <p:sp>
        <p:nvSpPr>
          <p:cNvPr id="73" name="Picture Placeholder 72">
            <a:extLst>
              <a:ext uri="{FF2B5EF4-FFF2-40B4-BE49-F238E27FC236}">
                <a16:creationId xmlns:a16="http://schemas.microsoft.com/office/drawing/2014/main" id="{2A73FB58-C106-4E93-CD24-68783A8D835C}"/>
              </a:ext>
            </a:extLst>
          </p:cNvPr>
          <p:cNvSpPr>
            <a:spLocks noGrp="1"/>
          </p:cNvSpPr>
          <p:nvPr>
            <p:ph type="pic" sz="quarter" idx="33"/>
          </p:nvPr>
        </p:nvSpPr>
        <p:spPr>
          <a:xfrm>
            <a:off x="742637" y="3883007"/>
            <a:ext cx="1064747" cy="1476420"/>
          </a:xfrm>
          <a:custGeom>
            <a:avLst/>
            <a:gdLst>
              <a:gd name="connsiteX0" fmla="*/ 738210 w 1419663"/>
              <a:gd name="connsiteY0" fmla="*/ 0 h 1476420"/>
              <a:gd name="connsiteX1" fmla="*/ 1419663 w 1419663"/>
              <a:gd name="connsiteY1" fmla="*/ 738210 h 1476420"/>
              <a:gd name="connsiteX2" fmla="*/ 738210 w 1419663"/>
              <a:gd name="connsiteY2" fmla="*/ 1476420 h 1476420"/>
              <a:gd name="connsiteX3" fmla="*/ 0 w 1419663"/>
              <a:gd name="connsiteY3" fmla="*/ 738210 h 1476420"/>
              <a:gd name="connsiteX4" fmla="*/ 738210 w 1419663"/>
              <a:gd name="connsiteY4" fmla="*/ 0 h 1476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9663" h="1476420">
                <a:moveTo>
                  <a:pt x="738210" y="0"/>
                </a:moveTo>
                <a:cubicBezTo>
                  <a:pt x="974821" y="0"/>
                  <a:pt x="1419663" y="330508"/>
                  <a:pt x="1419663" y="738210"/>
                </a:cubicBezTo>
                <a:cubicBezTo>
                  <a:pt x="1419663" y="1145912"/>
                  <a:pt x="974821" y="1476420"/>
                  <a:pt x="738210" y="1476420"/>
                </a:cubicBezTo>
                <a:cubicBezTo>
                  <a:pt x="501599" y="1476420"/>
                  <a:pt x="0" y="1251318"/>
                  <a:pt x="0" y="738210"/>
                </a:cubicBezTo>
                <a:cubicBezTo>
                  <a:pt x="0" y="225102"/>
                  <a:pt x="501599" y="0"/>
                  <a:pt x="738210" y="0"/>
                </a:cubicBezTo>
                <a:close/>
              </a:path>
            </a:pathLst>
          </a:custGeom>
          <a:solidFill>
            <a:schemeClr val="bg1">
              <a:lumMod val="85000"/>
            </a:schemeClr>
          </a:solidFill>
        </p:spPr>
        <p:txBody>
          <a:bodyPr wrap="square" anchor="ctr">
            <a:noAutofit/>
          </a:bodyPr>
          <a:lstStyle>
            <a:lvl1pPr marL="0" indent="0" algn="ctr">
              <a:buNone/>
              <a:defRPr sz="1350"/>
            </a:lvl1pPr>
          </a:lstStyle>
          <a:p>
            <a:r>
              <a:rPr lang="en-US"/>
              <a:t>Click icon to add picture</a:t>
            </a:r>
          </a:p>
        </p:txBody>
      </p:sp>
      <p:sp>
        <p:nvSpPr>
          <p:cNvPr id="74" name="Picture Placeholder 73">
            <a:extLst>
              <a:ext uri="{FF2B5EF4-FFF2-40B4-BE49-F238E27FC236}">
                <a16:creationId xmlns:a16="http://schemas.microsoft.com/office/drawing/2014/main" id="{64E38C68-4983-2DA4-C8FB-6C65022B3B14}"/>
              </a:ext>
            </a:extLst>
          </p:cNvPr>
          <p:cNvSpPr>
            <a:spLocks noGrp="1"/>
          </p:cNvSpPr>
          <p:nvPr>
            <p:ph type="pic" sz="quarter" idx="34"/>
          </p:nvPr>
        </p:nvSpPr>
        <p:spPr>
          <a:xfrm>
            <a:off x="2909391" y="3832085"/>
            <a:ext cx="1160956" cy="1505232"/>
          </a:xfrm>
          <a:custGeom>
            <a:avLst/>
            <a:gdLst>
              <a:gd name="connsiteX0" fmla="*/ 732258 w 1547941"/>
              <a:gd name="connsiteY0" fmla="*/ 972 h 1505232"/>
              <a:gd name="connsiteX1" fmla="*/ 1547941 w 1547941"/>
              <a:gd name="connsiteY1" fmla="*/ 725968 h 1505232"/>
              <a:gd name="connsiteX2" fmla="*/ 843665 w 1547941"/>
              <a:gd name="connsiteY2" fmla="*/ 1504111 h 1505232"/>
              <a:gd name="connsiteX3" fmla="*/ 50 w 1547941"/>
              <a:gd name="connsiteY3" fmla="*/ 855091 h 1505232"/>
              <a:gd name="connsiteX4" fmla="*/ 732258 w 1547941"/>
              <a:gd name="connsiteY4" fmla="*/ 972 h 1505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7941" h="1505232">
                <a:moveTo>
                  <a:pt x="732258" y="972"/>
                </a:moveTo>
                <a:cubicBezTo>
                  <a:pt x="990240" y="-20549"/>
                  <a:pt x="1547941" y="318266"/>
                  <a:pt x="1547941" y="725968"/>
                </a:cubicBezTo>
                <a:cubicBezTo>
                  <a:pt x="1547941" y="1133669"/>
                  <a:pt x="1101647" y="1482590"/>
                  <a:pt x="843665" y="1504111"/>
                </a:cubicBezTo>
                <a:cubicBezTo>
                  <a:pt x="585683" y="1525632"/>
                  <a:pt x="5705" y="1234737"/>
                  <a:pt x="50" y="855091"/>
                </a:cubicBezTo>
                <a:cubicBezTo>
                  <a:pt x="-5605" y="475445"/>
                  <a:pt x="474276" y="22493"/>
                  <a:pt x="732258" y="972"/>
                </a:cubicBezTo>
                <a:close/>
              </a:path>
            </a:pathLst>
          </a:custGeom>
          <a:solidFill>
            <a:schemeClr val="bg1">
              <a:lumMod val="85000"/>
            </a:schemeClr>
          </a:solidFill>
        </p:spPr>
        <p:txBody>
          <a:bodyPr wrap="square" anchor="ctr">
            <a:noAutofit/>
          </a:bodyPr>
          <a:lstStyle>
            <a:lvl1pPr marL="0" indent="0" algn="ctr">
              <a:buNone/>
              <a:defRPr sz="1350"/>
            </a:lvl1pPr>
          </a:lstStyle>
          <a:p>
            <a:r>
              <a:rPr lang="en-US"/>
              <a:t>Click icon to add picture</a:t>
            </a:r>
          </a:p>
        </p:txBody>
      </p:sp>
      <p:sp>
        <p:nvSpPr>
          <p:cNvPr id="75" name="Picture Placeholder 74">
            <a:extLst>
              <a:ext uri="{FF2B5EF4-FFF2-40B4-BE49-F238E27FC236}">
                <a16:creationId xmlns:a16="http://schemas.microsoft.com/office/drawing/2014/main" id="{276FDBD4-A02F-F910-0D70-4B9FD348C21B}"/>
              </a:ext>
            </a:extLst>
          </p:cNvPr>
          <p:cNvSpPr>
            <a:spLocks noGrp="1"/>
          </p:cNvSpPr>
          <p:nvPr>
            <p:ph type="pic" sz="quarter" idx="35"/>
          </p:nvPr>
        </p:nvSpPr>
        <p:spPr>
          <a:xfrm>
            <a:off x="5113033" y="3869852"/>
            <a:ext cx="1136537" cy="1469701"/>
          </a:xfrm>
          <a:custGeom>
            <a:avLst/>
            <a:gdLst>
              <a:gd name="connsiteX0" fmla="*/ 733407 w 1515383"/>
              <a:gd name="connsiteY0" fmla="*/ 800 h 1469701"/>
              <a:gd name="connsiteX1" fmla="*/ 1515157 w 1515383"/>
              <a:gd name="connsiteY1" fmla="*/ 871740 h 1469701"/>
              <a:gd name="connsiteX2" fmla="*/ 738211 w 1515383"/>
              <a:gd name="connsiteY2" fmla="*/ 1467914 h 1469701"/>
              <a:gd name="connsiteX3" fmla="*/ 1 w 1515383"/>
              <a:gd name="connsiteY3" fmla="*/ 729705 h 1469701"/>
              <a:gd name="connsiteX4" fmla="*/ 733407 w 1515383"/>
              <a:gd name="connsiteY4" fmla="*/ 800 h 1469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15383" h="1469701">
                <a:moveTo>
                  <a:pt x="733407" y="800"/>
                </a:moveTo>
                <a:cubicBezTo>
                  <a:pt x="985933" y="24472"/>
                  <a:pt x="1528070" y="360740"/>
                  <a:pt x="1515157" y="871740"/>
                </a:cubicBezTo>
                <a:cubicBezTo>
                  <a:pt x="1515157" y="1279442"/>
                  <a:pt x="990737" y="1491587"/>
                  <a:pt x="738211" y="1467914"/>
                </a:cubicBezTo>
                <a:cubicBezTo>
                  <a:pt x="485684" y="1444242"/>
                  <a:pt x="801" y="974224"/>
                  <a:pt x="1" y="729705"/>
                </a:cubicBezTo>
                <a:cubicBezTo>
                  <a:pt x="-800" y="485186"/>
                  <a:pt x="480881" y="-22872"/>
                  <a:pt x="733407" y="800"/>
                </a:cubicBezTo>
                <a:close/>
              </a:path>
            </a:pathLst>
          </a:custGeom>
          <a:solidFill>
            <a:schemeClr val="bg1">
              <a:lumMod val="85000"/>
            </a:schemeClr>
          </a:solidFill>
        </p:spPr>
        <p:txBody>
          <a:bodyPr wrap="square" anchor="ctr">
            <a:noAutofit/>
          </a:bodyPr>
          <a:lstStyle>
            <a:lvl1pPr marL="0" indent="0" algn="ctr">
              <a:buNone/>
              <a:defRPr sz="1350"/>
            </a:lvl1pPr>
          </a:lstStyle>
          <a:p>
            <a:r>
              <a:rPr lang="en-US"/>
              <a:t>Click icon to add picture</a:t>
            </a:r>
          </a:p>
        </p:txBody>
      </p:sp>
      <p:sp>
        <p:nvSpPr>
          <p:cNvPr id="76" name="Picture Placeholder 75">
            <a:extLst>
              <a:ext uri="{FF2B5EF4-FFF2-40B4-BE49-F238E27FC236}">
                <a16:creationId xmlns:a16="http://schemas.microsoft.com/office/drawing/2014/main" id="{C0B524AD-3692-546D-2E77-0595EE431F18}"/>
              </a:ext>
            </a:extLst>
          </p:cNvPr>
          <p:cNvSpPr>
            <a:spLocks noGrp="1"/>
          </p:cNvSpPr>
          <p:nvPr>
            <p:ph type="pic" sz="quarter" idx="36"/>
          </p:nvPr>
        </p:nvSpPr>
        <p:spPr>
          <a:xfrm>
            <a:off x="7306118" y="3869781"/>
            <a:ext cx="1116793" cy="1385672"/>
          </a:xfrm>
          <a:custGeom>
            <a:avLst/>
            <a:gdLst>
              <a:gd name="connsiteX0" fmla="*/ 817905 w 1489057"/>
              <a:gd name="connsiteY0" fmla="*/ 2143 h 1385672"/>
              <a:gd name="connsiteX1" fmla="*/ 1488854 w 1489057"/>
              <a:gd name="connsiteY1" fmla="*/ 751460 h 1385672"/>
              <a:gd name="connsiteX2" fmla="*/ 750644 w 1489057"/>
              <a:gd name="connsiteY2" fmla="*/ 1385649 h 1385672"/>
              <a:gd name="connsiteX3" fmla="*/ 9433 w 1489057"/>
              <a:gd name="connsiteY3" fmla="*/ 772473 h 1385672"/>
              <a:gd name="connsiteX4" fmla="*/ 484288 w 1489057"/>
              <a:gd name="connsiteY4" fmla="*/ 29858 h 1385672"/>
              <a:gd name="connsiteX5" fmla="*/ 817905 w 1489057"/>
              <a:gd name="connsiteY5" fmla="*/ 2143 h 1385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9057" h="1385672">
                <a:moveTo>
                  <a:pt x="817905" y="2143"/>
                </a:moveTo>
                <a:cubicBezTo>
                  <a:pt x="1161745" y="23797"/>
                  <a:pt x="1498537" y="213560"/>
                  <a:pt x="1488854" y="751460"/>
                </a:cubicBezTo>
                <a:cubicBezTo>
                  <a:pt x="1488854" y="1158764"/>
                  <a:pt x="997214" y="1382147"/>
                  <a:pt x="750644" y="1385649"/>
                </a:cubicBezTo>
                <a:cubicBezTo>
                  <a:pt x="504073" y="1389151"/>
                  <a:pt x="53826" y="998438"/>
                  <a:pt x="9433" y="772473"/>
                </a:cubicBezTo>
                <a:cubicBezTo>
                  <a:pt x="-34960" y="546507"/>
                  <a:pt x="69857" y="123746"/>
                  <a:pt x="484288" y="29858"/>
                </a:cubicBezTo>
                <a:cubicBezTo>
                  <a:pt x="587896" y="6386"/>
                  <a:pt x="703292" y="-5075"/>
                  <a:pt x="817905" y="2143"/>
                </a:cubicBezTo>
                <a:close/>
              </a:path>
            </a:pathLst>
          </a:custGeom>
          <a:solidFill>
            <a:schemeClr val="bg1">
              <a:lumMod val="85000"/>
            </a:schemeClr>
          </a:solidFill>
        </p:spPr>
        <p:txBody>
          <a:bodyPr wrap="square" anchor="ctr">
            <a:noAutofit/>
          </a:bodyPr>
          <a:lstStyle>
            <a:lvl1pPr marL="0" indent="0" algn="ctr">
              <a:buNone/>
              <a:defRPr sz="1350"/>
            </a:lvl1pPr>
          </a:lstStyle>
          <a:p>
            <a:r>
              <a:rPr lang="en-US"/>
              <a:t>Click icon to add picture</a:t>
            </a:r>
          </a:p>
        </p:txBody>
      </p:sp>
    </p:spTree>
    <p:extLst>
      <p:ext uri="{BB962C8B-B14F-4D97-AF65-F5344CB8AC3E}">
        <p14:creationId xmlns:p14="http://schemas.microsoft.com/office/powerpoint/2010/main" val="160088057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3D154EC-0314-0992-0ED9-81621D110F21}"/>
              </a:ext>
            </a:extLst>
          </p:cNvPr>
          <p:cNvSpPr/>
          <p:nvPr userDrawn="1"/>
        </p:nvSpPr>
        <p:spPr>
          <a:xfrm>
            <a:off x="6050185" y="4245963"/>
            <a:ext cx="2629025" cy="2197229"/>
          </a:xfrm>
          <a:custGeom>
            <a:avLst/>
            <a:gdLst>
              <a:gd name="connsiteX0" fmla="*/ 1591689 w 3505366"/>
              <a:gd name="connsiteY0" fmla="*/ 10 h 2197229"/>
              <a:gd name="connsiteX1" fmla="*/ 3436943 w 3505366"/>
              <a:gd name="connsiteY1" fmla="*/ 1794512 h 2197229"/>
              <a:gd name="connsiteX2" fmla="*/ 370414 w 3505366"/>
              <a:gd name="connsiteY2" fmla="*/ 1398378 h 2197229"/>
              <a:gd name="connsiteX3" fmla="*/ 1591689 w 3505366"/>
              <a:gd name="connsiteY3" fmla="*/ 10 h 2197229"/>
            </a:gdLst>
            <a:ahLst/>
            <a:cxnLst>
              <a:cxn ang="0">
                <a:pos x="connsiteX0" y="connsiteY0"/>
              </a:cxn>
              <a:cxn ang="0">
                <a:pos x="connsiteX1" y="connsiteY1"/>
              </a:cxn>
              <a:cxn ang="0">
                <a:pos x="connsiteX2" y="connsiteY2"/>
              </a:cxn>
              <a:cxn ang="0">
                <a:pos x="connsiteX3" y="connsiteY3"/>
              </a:cxn>
            </a:cxnLst>
            <a:rect l="l" t="t" r="r" b="b"/>
            <a:pathLst>
              <a:path w="3505366" h="2197229">
                <a:moveTo>
                  <a:pt x="1591689" y="10"/>
                </a:moveTo>
                <a:cubicBezTo>
                  <a:pt x="2321943" y="-3999"/>
                  <a:pt x="3845438" y="1214051"/>
                  <a:pt x="3436943" y="1794512"/>
                </a:cubicBezTo>
                <a:cubicBezTo>
                  <a:pt x="3028448" y="2374973"/>
                  <a:pt x="1456663" y="2397679"/>
                  <a:pt x="370414" y="1398378"/>
                </a:cubicBezTo>
                <a:cubicBezTo>
                  <a:pt x="-715835" y="399077"/>
                  <a:pt x="861435" y="4020"/>
                  <a:pt x="1591689" y="10"/>
                </a:cubicBezTo>
                <a:close/>
              </a:path>
            </a:pathLst>
          </a:cu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3" name="Text Placeholder 2">
            <a:extLst>
              <a:ext uri="{FF2B5EF4-FFF2-40B4-BE49-F238E27FC236}">
                <a16:creationId xmlns:a16="http://schemas.microsoft.com/office/drawing/2014/main" id="{673DC3A9-D4E6-42CF-91A8-F267C7C66CCB}"/>
              </a:ext>
            </a:extLst>
          </p:cNvPr>
          <p:cNvSpPr>
            <a:spLocks noGrp="1"/>
          </p:cNvSpPr>
          <p:nvPr>
            <p:ph type="body" idx="1"/>
          </p:nvPr>
        </p:nvSpPr>
        <p:spPr>
          <a:xfrm>
            <a:off x="603504" y="1984248"/>
            <a:ext cx="2276856" cy="365760"/>
          </a:xfrm>
        </p:spPr>
        <p:txBody>
          <a:bodyPr anchor="t">
            <a:noAutofit/>
          </a:bodyPr>
          <a:lstStyle>
            <a:lvl1pPr marL="0" indent="0">
              <a:lnSpc>
                <a:spcPct val="100000"/>
              </a:lnSpc>
              <a:buNone/>
              <a:defRPr sz="1350" b="1">
                <a:latin typeface="Source Sans Pro" panose="020B0503030403020204" pitchFamily="34" charset="0"/>
                <a:ea typeface="Source Sans Pro" panose="020B0503030403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C752CCA9-53A3-4DA5-AD45-C2A2C12A3A6A}"/>
              </a:ext>
            </a:extLst>
          </p:cNvPr>
          <p:cNvSpPr>
            <a:spLocks noGrp="1"/>
          </p:cNvSpPr>
          <p:nvPr>
            <p:ph sz="half" idx="2"/>
          </p:nvPr>
        </p:nvSpPr>
        <p:spPr>
          <a:xfrm>
            <a:off x="603504" y="2404872"/>
            <a:ext cx="2276856" cy="1508760"/>
          </a:xfrm>
        </p:spPr>
        <p:txBody>
          <a:bodyPr>
            <a:noAutofit/>
          </a:bodyPr>
          <a:lstStyle>
            <a:lvl1pPr>
              <a:defRPr sz="1350"/>
            </a:lvl1pPr>
            <a:lvl2pPr>
              <a:defRPr sz="1200"/>
            </a:lvl2pPr>
            <a:lvl3pPr>
              <a:defRPr sz="105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100C9C6-BD61-4D2C-9146-FB785BAE4FF3}"/>
              </a:ext>
            </a:extLst>
          </p:cNvPr>
          <p:cNvSpPr>
            <a:spLocks noGrp="1"/>
          </p:cNvSpPr>
          <p:nvPr>
            <p:ph type="body" sz="quarter" idx="3"/>
          </p:nvPr>
        </p:nvSpPr>
        <p:spPr>
          <a:xfrm>
            <a:off x="3298698" y="1984248"/>
            <a:ext cx="2276856" cy="365760"/>
          </a:xfrm>
        </p:spPr>
        <p:txBody>
          <a:bodyPr anchor="t">
            <a:noAutofit/>
          </a:bodyPr>
          <a:lstStyle>
            <a:lvl1pPr marL="0" indent="0">
              <a:lnSpc>
                <a:spcPct val="100000"/>
              </a:lnSpc>
              <a:buNone/>
              <a:defRPr sz="1350" b="1">
                <a:latin typeface="Source Sans Pro" panose="020B0503030403020204" pitchFamily="34" charset="0"/>
                <a:ea typeface="Source Sans Pro" panose="020B0503030403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E2E342EE-68BB-484D-98C3-48A7847549D4}"/>
              </a:ext>
            </a:extLst>
          </p:cNvPr>
          <p:cNvSpPr>
            <a:spLocks noGrp="1"/>
          </p:cNvSpPr>
          <p:nvPr>
            <p:ph sz="quarter" idx="4"/>
          </p:nvPr>
        </p:nvSpPr>
        <p:spPr>
          <a:xfrm>
            <a:off x="3298698" y="2404872"/>
            <a:ext cx="2276856" cy="1508760"/>
          </a:xfrm>
        </p:spPr>
        <p:txBody>
          <a:bodyPr>
            <a:noAutofit/>
          </a:bodyPr>
          <a:lstStyle>
            <a:lvl1pPr>
              <a:defRPr sz="1350"/>
            </a:lvl1pPr>
            <a:lvl2pPr>
              <a:defRPr sz="1200"/>
            </a:lvl2pPr>
            <a:lvl3pPr>
              <a:defRPr sz="105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Freeform: Shape 21">
            <a:extLst>
              <a:ext uri="{FF2B5EF4-FFF2-40B4-BE49-F238E27FC236}">
                <a16:creationId xmlns:a16="http://schemas.microsoft.com/office/drawing/2014/main" id="{87AC51FC-0DE6-2ADC-D0A4-102FD261F26C}"/>
              </a:ext>
            </a:extLst>
          </p:cNvPr>
          <p:cNvSpPr/>
          <p:nvPr userDrawn="1"/>
        </p:nvSpPr>
        <p:spPr>
          <a:xfrm>
            <a:off x="3038246" y="4110165"/>
            <a:ext cx="3448662" cy="2448196"/>
          </a:xfrm>
          <a:custGeom>
            <a:avLst/>
            <a:gdLst>
              <a:gd name="connsiteX0" fmla="*/ 3235960 w 4598216"/>
              <a:gd name="connsiteY0" fmla="*/ 177 h 2448196"/>
              <a:gd name="connsiteX1" fmla="*/ 4077195 w 4598216"/>
              <a:gd name="connsiteY1" fmla="*/ 1276885 h 2448196"/>
              <a:gd name="connsiteX2" fmla="*/ 1841733 w 4598216"/>
              <a:gd name="connsiteY2" fmla="*/ 2309986 h 2448196"/>
              <a:gd name="connsiteX3" fmla="*/ 1787563 w 4598216"/>
              <a:gd name="connsiteY3" fmla="*/ 2285143 h 2448196"/>
              <a:gd name="connsiteX4" fmla="*/ 1661679 w 4598216"/>
              <a:gd name="connsiteY4" fmla="*/ 2342188 h 2448196"/>
              <a:gd name="connsiteX5" fmla="*/ 1522393 w 4598216"/>
              <a:gd name="connsiteY5" fmla="*/ 2391140 h 2448196"/>
              <a:gd name="connsiteX6" fmla="*/ 7966 w 4598216"/>
              <a:gd name="connsiteY6" fmla="*/ 1670966 h 2448196"/>
              <a:gd name="connsiteX7" fmla="*/ 1872108 w 4598216"/>
              <a:gd name="connsiteY7" fmla="*/ 603993 h 2448196"/>
              <a:gd name="connsiteX8" fmla="*/ 1951708 w 4598216"/>
              <a:gd name="connsiteY8" fmla="*/ 529390 h 2448196"/>
              <a:gd name="connsiteX9" fmla="*/ 1998957 w 4598216"/>
              <a:gd name="connsiteY9" fmla="*/ 493844 h 2448196"/>
              <a:gd name="connsiteX10" fmla="*/ 2059956 w 4598216"/>
              <a:gd name="connsiteY10" fmla="*/ 434818 h 2448196"/>
              <a:gd name="connsiteX11" fmla="*/ 2157847 w 4598216"/>
              <a:gd name="connsiteY11" fmla="*/ 357872 h 2448196"/>
              <a:gd name="connsiteX12" fmla="*/ 2590118 w 4598216"/>
              <a:gd name="connsiteY12" fmla="*/ 117396 h 2448196"/>
              <a:gd name="connsiteX13" fmla="*/ 3235960 w 4598216"/>
              <a:gd name="connsiteY13" fmla="*/ 177 h 244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98216" h="2448196">
                <a:moveTo>
                  <a:pt x="3235960" y="177"/>
                </a:moveTo>
                <a:cubicBezTo>
                  <a:pt x="4360185" y="16307"/>
                  <a:pt x="5178101" y="1131245"/>
                  <a:pt x="4077195" y="1276885"/>
                </a:cubicBezTo>
                <a:cubicBezTo>
                  <a:pt x="2682433" y="1461398"/>
                  <a:pt x="2500936" y="2574399"/>
                  <a:pt x="1841733" y="2309986"/>
                </a:cubicBezTo>
                <a:lnTo>
                  <a:pt x="1787563" y="2285143"/>
                </a:lnTo>
                <a:lnTo>
                  <a:pt x="1661679" y="2342188"/>
                </a:lnTo>
                <a:cubicBezTo>
                  <a:pt x="1617052" y="2360105"/>
                  <a:pt x="1570636" y="2376472"/>
                  <a:pt x="1522393" y="2391140"/>
                </a:cubicBezTo>
                <a:cubicBezTo>
                  <a:pt x="1009096" y="2564271"/>
                  <a:pt x="-104824" y="2348770"/>
                  <a:pt x="7966" y="1670966"/>
                </a:cubicBezTo>
                <a:cubicBezTo>
                  <a:pt x="120757" y="993164"/>
                  <a:pt x="1005773" y="1495062"/>
                  <a:pt x="1872108" y="603993"/>
                </a:cubicBezTo>
                <a:cubicBezTo>
                  <a:pt x="1899181" y="576148"/>
                  <a:pt x="1925728" y="551328"/>
                  <a:pt x="1951708" y="529390"/>
                </a:cubicBezTo>
                <a:lnTo>
                  <a:pt x="1998957" y="493844"/>
                </a:lnTo>
                <a:lnTo>
                  <a:pt x="2059956" y="434818"/>
                </a:lnTo>
                <a:cubicBezTo>
                  <a:pt x="2092581" y="406180"/>
                  <a:pt x="2125321" y="380398"/>
                  <a:pt x="2157847" y="357872"/>
                </a:cubicBezTo>
                <a:cubicBezTo>
                  <a:pt x="2300072" y="252898"/>
                  <a:pt x="2445153" y="174010"/>
                  <a:pt x="2590118" y="117396"/>
                </a:cubicBezTo>
                <a:cubicBezTo>
                  <a:pt x="2809076" y="31885"/>
                  <a:pt x="3027770" y="-2810"/>
                  <a:pt x="3235960" y="17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4" name="Freeform: Shape 13">
            <a:extLst>
              <a:ext uri="{FF2B5EF4-FFF2-40B4-BE49-F238E27FC236}">
                <a16:creationId xmlns:a16="http://schemas.microsoft.com/office/drawing/2014/main" id="{C8E718E1-168B-58C6-1B6F-42DC26709517}"/>
              </a:ext>
            </a:extLst>
          </p:cNvPr>
          <p:cNvSpPr/>
          <p:nvPr userDrawn="1"/>
        </p:nvSpPr>
        <p:spPr>
          <a:xfrm>
            <a:off x="5710661" y="3847574"/>
            <a:ext cx="2521037" cy="2796865"/>
          </a:xfrm>
          <a:custGeom>
            <a:avLst/>
            <a:gdLst>
              <a:gd name="connsiteX0" fmla="*/ 1379177 w 3361382"/>
              <a:gd name="connsiteY0" fmla="*/ 673 h 2796865"/>
              <a:gd name="connsiteX1" fmla="*/ 3226456 w 3361382"/>
              <a:gd name="connsiteY1" fmla="*/ 698468 h 2796865"/>
              <a:gd name="connsiteX2" fmla="*/ 1654520 w 3361382"/>
              <a:gd name="connsiteY2" fmla="*/ 2790226 h 2796865"/>
              <a:gd name="connsiteX3" fmla="*/ 99339 w 3361382"/>
              <a:gd name="connsiteY3" fmla="*/ 407389 h 2796865"/>
              <a:gd name="connsiteX4" fmla="*/ 1379177 w 3361382"/>
              <a:gd name="connsiteY4" fmla="*/ 673 h 2796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1382" h="2796865">
                <a:moveTo>
                  <a:pt x="1379177" y="673"/>
                </a:moveTo>
                <a:cubicBezTo>
                  <a:pt x="2098234" y="15104"/>
                  <a:pt x="2895448" y="261479"/>
                  <a:pt x="3226456" y="698468"/>
                </a:cubicBezTo>
                <a:cubicBezTo>
                  <a:pt x="3814916" y="1475338"/>
                  <a:pt x="2328320" y="2906177"/>
                  <a:pt x="1654520" y="2790226"/>
                </a:cubicBezTo>
                <a:cubicBezTo>
                  <a:pt x="980720" y="2674275"/>
                  <a:pt x="-377423" y="1067616"/>
                  <a:pt x="99339" y="407389"/>
                </a:cubicBezTo>
                <a:cubicBezTo>
                  <a:pt x="307922" y="118539"/>
                  <a:pt x="819909" y="-10550"/>
                  <a:pt x="1379177" y="673"/>
                </a:cubicBezTo>
                <a:close/>
              </a:path>
            </a:pathLst>
          </a:cu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6" name="Picture Placeholder 25">
            <a:extLst>
              <a:ext uri="{FF2B5EF4-FFF2-40B4-BE49-F238E27FC236}">
                <a16:creationId xmlns:a16="http://schemas.microsoft.com/office/drawing/2014/main" id="{6A0A6ED0-15C9-368F-1AAA-EBC99B7AD541}"/>
              </a:ext>
            </a:extLst>
          </p:cNvPr>
          <p:cNvSpPr>
            <a:spLocks noGrp="1"/>
          </p:cNvSpPr>
          <p:nvPr>
            <p:ph type="pic" sz="quarter" idx="13"/>
          </p:nvPr>
        </p:nvSpPr>
        <p:spPr>
          <a:xfrm>
            <a:off x="0" y="4402858"/>
            <a:ext cx="9144001" cy="2455143"/>
          </a:xfrm>
          <a:custGeom>
            <a:avLst/>
            <a:gdLst>
              <a:gd name="connsiteX0" fmla="*/ 0 w 12192001"/>
              <a:gd name="connsiteY0" fmla="*/ 0 h 2455143"/>
              <a:gd name="connsiteX1" fmla="*/ 206003 w 12192001"/>
              <a:gd name="connsiteY1" fmla="*/ 1109 h 2455143"/>
              <a:gd name="connsiteX2" fmla="*/ 2427782 w 12192001"/>
              <a:gd name="connsiteY2" fmla="*/ 201823 h 2455143"/>
              <a:gd name="connsiteX3" fmla="*/ 2758383 w 12192001"/>
              <a:gd name="connsiteY3" fmla="*/ 246086 h 2455143"/>
              <a:gd name="connsiteX4" fmla="*/ 2769563 w 12192001"/>
              <a:gd name="connsiteY4" fmla="*/ 249232 h 2455143"/>
              <a:gd name="connsiteX5" fmla="*/ 4441595 w 12192001"/>
              <a:gd name="connsiteY5" fmla="*/ 474966 h 2455143"/>
              <a:gd name="connsiteX6" fmla="*/ 6144331 w 12192001"/>
              <a:gd name="connsiteY6" fmla="*/ 457476 h 2455143"/>
              <a:gd name="connsiteX7" fmla="*/ 6578223 w 12192001"/>
              <a:gd name="connsiteY7" fmla="*/ 421761 h 2455143"/>
              <a:gd name="connsiteX8" fmla="*/ 6872381 w 12192001"/>
              <a:gd name="connsiteY8" fmla="*/ 383863 h 2455143"/>
              <a:gd name="connsiteX9" fmla="*/ 7078387 w 12192001"/>
              <a:gd name="connsiteY9" fmla="*/ 368875 h 2455143"/>
              <a:gd name="connsiteX10" fmla="*/ 7457053 w 12192001"/>
              <a:gd name="connsiteY10" fmla="*/ 322840 h 2455143"/>
              <a:gd name="connsiteX11" fmla="*/ 12107915 w 12192001"/>
              <a:gd name="connsiteY11" fmla="*/ 361608 h 2455143"/>
              <a:gd name="connsiteX12" fmla="*/ 12192001 w 12192001"/>
              <a:gd name="connsiteY12" fmla="*/ 373495 h 2455143"/>
              <a:gd name="connsiteX13" fmla="*/ 12192001 w 12192001"/>
              <a:gd name="connsiteY13" fmla="*/ 2455143 h 2455143"/>
              <a:gd name="connsiteX14" fmla="*/ 0 w 12192001"/>
              <a:gd name="connsiteY14" fmla="*/ 2455143 h 245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1" h="2455143">
                <a:moveTo>
                  <a:pt x="0" y="0"/>
                </a:moveTo>
                <a:lnTo>
                  <a:pt x="206003" y="1109"/>
                </a:lnTo>
                <a:cubicBezTo>
                  <a:pt x="1096250" y="15691"/>
                  <a:pt x="1811969" y="113904"/>
                  <a:pt x="2427782" y="201823"/>
                </a:cubicBezTo>
                <a:lnTo>
                  <a:pt x="2758383" y="246086"/>
                </a:lnTo>
                <a:lnTo>
                  <a:pt x="2769563" y="249232"/>
                </a:lnTo>
                <a:cubicBezTo>
                  <a:pt x="3256639" y="361338"/>
                  <a:pt x="3813963" y="441051"/>
                  <a:pt x="4441595" y="474966"/>
                </a:cubicBezTo>
                <a:cubicBezTo>
                  <a:pt x="4961013" y="503034"/>
                  <a:pt x="5528581" y="499736"/>
                  <a:pt x="6144331" y="457476"/>
                </a:cubicBezTo>
                <a:cubicBezTo>
                  <a:pt x="6281970" y="449903"/>
                  <a:pt x="6427188" y="437891"/>
                  <a:pt x="6578223" y="421761"/>
                </a:cubicBezTo>
                <a:lnTo>
                  <a:pt x="6872381" y="383863"/>
                </a:lnTo>
                <a:lnTo>
                  <a:pt x="7078387" y="368875"/>
                </a:lnTo>
                <a:cubicBezTo>
                  <a:pt x="7196800" y="357254"/>
                  <a:pt x="7322954" y="341987"/>
                  <a:pt x="7457053" y="322840"/>
                </a:cubicBezTo>
                <a:cubicBezTo>
                  <a:pt x="9602611" y="16470"/>
                  <a:pt x="11013138" y="205308"/>
                  <a:pt x="12107915" y="361608"/>
                </a:cubicBezTo>
                <a:lnTo>
                  <a:pt x="12192001" y="373495"/>
                </a:lnTo>
                <a:lnTo>
                  <a:pt x="12192001" y="2455143"/>
                </a:lnTo>
                <a:lnTo>
                  <a:pt x="0" y="2455143"/>
                </a:lnTo>
                <a:close/>
              </a:path>
            </a:pathLst>
          </a:custGeom>
          <a:solidFill>
            <a:schemeClr val="bg1">
              <a:lumMod val="85000"/>
            </a:schemeClr>
          </a:solidFill>
        </p:spPr>
        <p:txBody>
          <a:bodyPr wrap="square" anchor="ctr">
            <a:noAutofit/>
          </a:bodyPr>
          <a:lstStyle>
            <a:lvl1pPr marL="0" indent="0" algn="ctr">
              <a:buNone/>
              <a:defRPr/>
            </a:lvl1pPr>
          </a:lstStyle>
          <a:p>
            <a:r>
              <a:rPr lang="en-US"/>
              <a:t>Click icon to add picture</a:t>
            </a:r>
          </a:p>
        </p:txBody>
      </p:sp>
      <p:sp>
        <p:nvSpPr>
          <p:cNvPr id="30" name="Text Placeholder 4">
            <a:extLst>
              <a:ext uri="{FF2B5EF4-FFF2-40B4-BE49-F238E27FC236}">
                <a16:creationId xmlns:a16="http://schemas.microsoft.com/office/drawing/2014/main" id="{98063778-4F66-6E8B-E737-450DC310DF68}"/>
              </a:ext>
            </a:extLst>
          </p:cNvPr>
          <p:cNvSpPr>
            <a:spLocks noGrp="1"/>
          </p:cNvSpPr>
          <p:nvPr>
            <p:ph type="body" sz="quarter" idx="14"/>
          </p:nvPr>
        </p:nvSpPr>
        <p:spPr>
          <a:xfrm>
            <a:off x="6000750" y="1984248"/>
            <a:ext cx="2276856" cy="365760"/>
          </a:xfrm>
        </p:spPr>
        <p:txBody>
          <a:bodyPr anchor="t">
            <a:noAutofit/>
          </a:bodyPr>
          <a:lstStyle>
            <a:lvl1pPr marL="0" indent="0">
              <a:lnSpc>
                <a:spcPct val="100000"/>
              </a:lnSpc>
              <a:buNone/>
              <a:defRPr sz="1350" b="1">
                <a:latin typeface="Source Sans Pro" panose="020B0503030403020204" pitchFamily="34" charset="0"/>
                <a:ea typeface="Source Sans Pro" panose="020B0503030403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31" name="Content Placeholder 5">
            <a:extLst>
              <a:ext uri="{FF2B5EF4-FFF2-40B4-BE49-F238E27FC236}">
                <a16:creationId xmlns:a16="http://schemas.microsoft.com/office/drawing/2014/main" id="{D8C1FD49-DAC8-6015-C51D-AACE51DB285F}"/>
              </a:ext>
            </a:extLst>
          </p:cNvPr>
          <p:cNvSpPr>
            <a:spLocks noGrp="1"/>
          </p:cNvSpPr>
          <p:nvPr>
            <p:ph sz="quarter" idx="15"/>
          </p:nvPr>
        </p:nvSpPr>
        <p:spPr>
          <a:xfrm>
            <a:off x="6000750" y="2404872"/>
            <a:ext cx="2276856" cy="1508760"/>
          </a:xfrm>
        </p:spPr>
        <p:txBody>
          <a:bodyPr>
            <a:noAutofit/>
          </a:bodyPr>
          <a:lstStyle>
            <a:lvl1pPr>
              <a:defRPr sz="1350"/>
            </a:lvl1pPr>
            <a:lvl2pPr>
              <a:defRPr sz="1200"/>
            </a:lvl2pPr>
            <a:lvl3pPr>
              <a:defRPr sz="105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itle 31">
            <a:extLst>
              <a:ext uri="{FF2B5EF4-FFF2-40B4-BE49-F238E27FC236}">
                <a16:creationId xmlns:a16="http://schemas.microsoft.com/office/drawing/2014/main" id="{CF88AF8B-BD4E-27EF-1C36-53FEBC10602B}"/>
              </a:ext>
            </a:extLst>
          </p:cNvPr>
          <p:cNvSpPr>
            <a:spLocks noGrp="1"/>
          </p:cNvSpPr>
          <p:nvPr>
            <p:ph type="title"/>
          </p:nvPr>
        </p:nvSpPr>
        <p:spPr/>
        <p:txBody>
          <a:bodyPr>
            <a:noAutofit/>
          </a:bodyPr>
          <a:lstStyle>
            <a:lvl1pPr algn="ctr">
              <a:defRPr sz="3600"/>
            </a:lvl1pPr>
          </a:lstStyle>
          <a:p>
            <a:r>
              <a:rPr lang="en-US"/>
              <a:t>Click to edit Master title style</a:t>
            </a:r>
          </a:p>
        </p:txBody>
      </p:sp>
    </p:spTree>
    <p:extLst>
      <p:ext uri="{BB962C8B-B14F-4D97-AF65-F5344CB8AC3E}">
        <p14:creationId xmlns:p14="http://schemas.microsoft.com/office/powerpoint/2010/main" val="35452355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4150135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0DA35C1D-604B-3721-C6C0-3943E22ED61F}"/>
              </a:ext>
            </a:extLst>
          </p:cNvPr>
          <p:cNvSpPr/>
          <p:nvPr userDrawn="1"/>
        </p:nvSpPr>
        <p:spPr>
          <a:xfrm>
            <a:off x="1778673" y="3978509"/>
            <a:ext cx="2125117" cy="1977740"/>
          </a:xfrm>
          <a:custGeom>
            <a:avLst/>
            <a:gdLst>
              <a:gd name="connsiteX0" fmla="*/ 2330242 w 2833489"/>
              <a:gd name="connsiteY0" fmla="*/ 1 h 1977740"/>
              <a:gd name="connsiteX1" fmla="*/ 2498982 w 2833489"/>
              <a:gd name="connsiteY1" fmla="*/ 44466 h 1977740"/>
              <a:gd name="connsiteX2" fmla="*/ 2606536 w 2833489"/>
              <a:gd name="connsiteY2" fmla="*/ 1232877 h 1977740"/>
              <a:gd name="connsiteX3" fmla="*/ 2311327 w 2833489"/>
              <a:gd name="connsiteY3" fmla="*/ 1576745 h 1977740"/>
              <a:gd name="connsiteX4" fmla="*/ 383794 w 2833489"/>
              <a:gd name="connsiteY4" fmla="*/ 752097 h 1977740"/>
              <a:gd name="connsiteX5" fmla="*/ 2330242 w 2833489"/>
              <a:gd name="connsiteY5" fmla="*/ 1 h 197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33489" h="1977740">
                <a:moveTo>
                  <a:pt x="2330242" y="1"/>
                </a:moveTo>
                <a:cubicBezTo>
                  <a:pt x="2383155" y="-127"/>
                  <a:pt x="2438275" y="13463"/>
                  <a:pt x="2498982" y="44466"/>
                </a:cubicBezTo>
                <a:cubicBezTo>
                  <a:pt x="2971547" y="300675"/>
                  <a:pt x="2882471" y="765287"/>
                  <a:pt x="2606536" y="1232877"/>
                </a:cubicBezTo>
                <a:cubicBezTo>
                  <a:pt x="2606503" y="1241273"/>
                  <a:pt x="2424583" y="1476594"/>
                  <a:pt x="2311327" y="1576745"/>
                </a:cubicBezTo>
                <a:cubicBezTo>
                  <a:pt x="1017130" y="2721187"/>
                  <a:pt x="-800765" y="1086278"/>
                  <a:pt x="383794" y="752097"/>
                </a:cubicBezTo>
                <a:cubicBezTo>
                  <a:pt x="1697583" y="673980"/>
                  <a:pt x="1959850" y="896"/>
                  <a:pt x="2330242" y="1"/>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9" name="Freeform: Shape 28">
            <a:extLst>
              <a:ext uri="{FF2B5EF4-FFF2-40B4-BE49-F238E27FC236}">
                <a16:creationId xmlns:a16="http://schemas.microsoft.com/office/drawing/2014/main" id="{D5A2EDE1-A310-C335-F6C8-E2A57A5DCD24}"/>
              </a:ext>
            </a:extLst>
          </p:cNvPr>
          <p:cNvSpPr/>
          <p:nvPr userDrawn="1"/>
        </p:nvSpPr>
        <p:spPr>
          <a:xfrm>
            <a:off x="1997788" y="895957"/>
            <a:ext cx="2515194" cy="3394580"/>
          </a:xfrm>
          <a:custGeom>
            <a:avLst/>
            <a:gdLst>
              <a:gd name="connsiteX0" fmla="*/ 1117000 w 3353592"/>
              <a:gd name="connsiteY0" fmla="*/ 212 h 3394580"/>
              <a:gd name="connsiteX1" fmla="*/ 3339471 w 3353592"/>
              <a:gd name="connsiteY1" fmla="*/ 1353770 h 3394580"/>
              <a:gd name="connsiteX2" fmla="*/ 1460830 w 3353592"/>
              <a:gd name="connsiteY2" fmla="*/ 3239951 h 3394580"/>
              <a:gd name="connsiteX3" fmla="*/ 456338 w 3353592"/>
              <a:gd name="connsiteY3" fmla="*/ 219125 h 3394580"/>
              <a:gd name="connsiteX4" fmla="*/ 1117000 w 3353592"/>
              <a:gd name="connsiteY4" fmla="*/ 212 h 3394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3592" h="3394580">
                <a:moveTo>
                  <a:pt x="1117000" y="212"/>
                </a:moveTo>
                <a:cubicBezTo>
                  <a:pt x="2031490" y="-14669"/>
                  <a:pt x="3265097" y="758034"/>
                  <a:pt x="3339471" y="1353770"/>
                </a:cubicBezTo>
                <a:cubicBezTo>
                  <a:pt x="3434671" y="2116311"/>
                  <a:pt x="3074478" y="3932938"/>
                  <a:pt x="1460830" y="3239951"/>
                </a:cubicBezTo>
                <a:cubicBezTo>
                  <a:pt x="-152818" y="2546964"/>
                  <a:pt x="-337111" y="899506"/>
                  <a:pt x="456338" y="219125"/>
                </a:cubicBezTo>
                <a:cubicBezTo>
                  <a:pt x="629905" y="70291"/>
                  <a:pt x="860943" y="4378"/>
                  <a:pt x="1117000" y="212"/>
                </a:cubicBezTo>
                <a:close/>
              </a:path>
            </a:pathLst>
          </a:cu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8" name="Freeform: Shape 17">
            <a:extLst>
              <a:ext uri="{FF2B5EF4-FFF2-40B4-BE49-F238E27FC236}">
                <a16:creationId xmlns:a16="http://schemas.microsoft.com/office/drawing/2014/main" id="{65FA232B-B094-6E9C-1F6E-B431526CF5CF}"/>
              </a:ext>
            </a:extLst>
          </p:cNvPr>
          <p:cNvSpPr/>
          <p:nvPr userDrawn="1"/>
        </p:nvSpPr>
        <p:spPr>
          <a:xfrm>
            <a:off x="521568" y="703595"/>
            <a:ext cx="2759302" cy="3508957"/>
          </a:xfrm>
          <a:custGeom>
            <a:avLst/>
            <a:gdLst>
              <a:gd name="connsiteX0" fmla="*/ 2214144 w 3679069"/>
              <a:gd name="connsiteY0" fmla="*/ 1127 h 3508957"/>
              <a:gd name="connsiteX1" fmla="*/ 3169400 w 3679069"/>
              <a:gd name="connsiteY1" fmla="*/ 1345851 h 3508957"/>
              <a:gd name="connsiteX2" fmla="*/ 717301 w 3679069"/>
              <a:gd name="connsiteY2" fmla="*/ 3495393 h 3508957"/>
              <a:gd name="connsiteX3" fmla="*/ 431011 w 3679069"/>
              <a:gd name="connsiteY3" fmla="*/ 965650 h 3508957"/>
              <a:gd name="connsiteX4" fmla="*/ 2214144 w 3679069"/>
              <a:gd name="connsiteY4" fmla="*/ 1127 h 350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9069" h="3508957">
                <a:moveTo>
                  <a:pt x="2214144" y="1127"/>
                </a:moveTo>
                <a:cubicBezTo>
                  <a:pt x="3378638" y="-35267"/>
                  <a:pt x="4289597" y="818314"/>
                  <a:pt x="3169400" y="1345851"/>
                </a:cubicBezTo>
                <a:cubicBezTo>
                  <a:pt x="1462434" y="2149717"/>
                  <a:pt x="1746081" y="3668078"/>
                  <a:pt x="717301" y="3495393"/>
                </a:cubicBezTo>
                <a:cubicBezTo>
                  <a:pt x="-311478" y="3322707"/>
                  <a:pt x="-70949" y="1617102"/>
                  <a:pt x="431011" y="965650"/>
                </a:cubicBezTo>
                <a:cubicBezTo>
                  <a:pt x="924632" y="283443"/>
                  <a:pt x="1604170" y="20191"/>
                  <a:pt x="2214144" y="1127"/>
                </a:cubicBezTo>
                <a:close/>
              </a:path>
            </a:pathLst>
          </a:custGeom>
          <a:noFill/>
          <a:ln w="38100">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 name="Title 1">
            <a:extLst>
              <a:ext uri="{FF2B5EF4-FFF2-40B4-BE49-F238E27FC236}">
                <a16:creationId xmlns:a16="http://schemas.microsoft.com/office/drawing/2014/main" id="{A2DFA2E8-50A1-4465-AC33-6FAC0E7736E9}"/>
              </a:ext>
            </a:extLst>
          </p:cNvPr>
          <p:cNvSpPr>
            <a:spLocks noGrp="1"/>
          </p:cNvSpPr>
          <p:nvPr>
            <p:ph type="title"/>
          </p:nvPr>
        </p:nvSpPr>
        <p:spPr>
          <a:xfrm>
            <a:off x="4944618" y="1042416"/>
            <a:ext cx="3401568" cy="1325880"/>
          </a:xfrm>
        </p:spPr>
        <p:txBody>
          <a:bodyPr anchor="ctr">
            <a:noAutofit/>
          </a:bodyPr>
          <a:lstStyle>
            <a:lvl1pPr>
              <a:defRPr sz="3600"/>
            </a:lvl1pPr>
          </a:lstStyle>
          <a:p>
            <a:r>
              <a:rPr lang="en-US"/>
              <a:t>Click to edit Master title style</a:t>
            </a:r>
          </a:p>
        </p:txBody>
      </p:sp>
      <p:sp>
        <p:nvSpPr>
          <p:cNvPr id="3" name="Text Placeholder 2">
            <a:extLst>
              <a:ext uri="{FF2B5EF4-FFF2-40B4-BE49-F238E27FC236}">
                <a16:creationId xmlns:a16="http://schemas.microsoft.com/office/drawing/2014/main" id="{2E65DE34-CDB7-41F7-A95A-592B99558C69}"/>
              </a:ext>
            </a:extLst>
          </p:cNvPr>
          <p:cNvSpPr>
            <a:spLocks noGrp="1"/>
          </p:cNvSpPr>
          <p:nvPr>
            <p:ph type="body" idx="1"/>
          </p:nvPr>
        </p:nvSpPr>
        <p:spPr>
          <a:xfrm>
            <a:off x="4944618" y="2295144"/>
            <a:ext cx="3401568" cy="2542032"/>
          </a:xfrm>
        </p:spPr>
        <p:txBody>
          <a:bodyPr>
            <a:noAutofit/>
          </a:bodyPr>
          <a:lstStyle>
            <a:lvl1pPr marL="0" indent="0">
              <a:buNone/>
              <a:defRPr sz="135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14" name="Picture Placeholder 13">
            <a:extLst>
              <a:ext uri="{FF2B5EF4-FFF2-40B4-BE49-F238E27FC236}">
                <a16:creationId xmlns:a16="http://schemas.microsoft.com/office/drawing/2014/main" id="{E546E31B-BAE1-A01A-8FEA-C80E382B3881}"/>
              </a:ext>
            </a:extLst>
          </p:cNvPr>
          <p:cNvSpPr>
            <a:spLocks noGrp="1"/>
          </p:cNvSpPr>
          <p:nvPr>
            <p:ph type="pic" sz="quarter" idx="10"/>
          </p:nvPr>
        </p:nvSpPr>
        <p:spPr>
          <a:xfrm>
            <a:off x="801065" y="785580"/>
            <a:ext cx="3403320" cy="4719174"/>
          </a:xfrm>
          <a:custGeom>
            <a:avLst/>
            <a:gdLst>
              <a:gd name="connsiteX0" fmla="*/ 2178172 w 4537760"/>
              <a:gd name="connsiteY0" fmla="*/ 0 h 4719174"/>
              <a:gd name="connsiteX1" fmla="*/ 4537760 w 4537760"/>
              <a:gd name="connsiteY1" fmla="*/ 2359587 h 4719174"/>
              <a:gd name="connsiteX2" fmla="*/ 2178172 w 4537760"/>
              <a:gd name="connsiteY2" fmla="*/ 4719174 h 4719174"/>
              <a:gd name="connsiteX3" fmla="*/ 0 w 4537760"/>
              <a:gd name="connsiteY3" fmla="*/ 2359587 h 4719174"/>
              <a:gd name="connsiteX4" fmla="*/ 2178172 w 4537760"/>
              <a:gd name="connsiteY4" fmla="*/ 0 h 47191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37760" h="4719174">
                <a:moveTo>
                  <a:pt x="2178172" y="0"/>
                </a:moveTo>
                <a:cubicBezTo>
                  <a:pt x="2934466" y="0"/>
                  <a:pt x="4537760" y="719508"/>
                  <a:pt x="4537760" y="2359587"/>
                </a:cubicBezTo>
                <a:cubicBezTo>
                  <a:pt x="4537760" y="3999666"/>
                  <a:pt x="2934466" y="4719174"/>
                  <a:pt x="2178172" y="4719174"/>
                </a:cubicBezTo>
                <a:cubicBezTo>
                  <a:pt x="1421878" y="4719174"/>
                  <a:pt x="0" y="3662751"/>
                  <a:pt x="0" y="2359587"/>
                </a:cubicBezTo>
                <a:cubicBezTo>
                  <a:pt x="0" y="1056424"/>
                  <a:pt x="1421878" y="0"/>
                  <a:pt x="2178172" y="0"/>
                </a:cubicBezTo>
                <a:close/>
              </a:path>
            </a:pathLst>
          </a:custGeom>
          <a:solidFill>
            <a:schemeClr val="bg1">
              <a:lumMod val="95000"/>
            </a:schemeClr>
          </a:solidFill>
        </p:spPr>
        <p:txBody>
          <a:bodyPr wrap="square"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185279491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BE4850B3-36D8-8C1A-F5EF-A5999BB7B1C2}"/>
              </a:ext>
            </a:extLst>
          </p:cNvPr>
          <p:cNvSpPr/>
          <p:nvPr userDrawn="1"/>
        </p:nvSpPr>
        <p:spPr>
          <a:xfrm>
            <a:off x="7130369" y="4178543"/>
            <a:ext cx="1190303" cy="1617884"/>
          </a:xfrm>
          <a:custGeom>
            <a:avLst/>
            <a:gdLst>
              <a:gd name="connsiteX0" fmla="*/ 1080694 w 1587071"/>
              <a:gd name="connsiteY0" fmla="*/ 2111 h 1617884"/>
              <a:gd name="connsiteX1" fmla="*/ 1335962 w 1587071"/>
              <a:gd name="connsiteY1" fmla="*/ 77069 h 1617884"/>
              <a:gd name="connsiteX2" fmla="*/ 1421958 w 1587071"/>
              <a:gd name="connsiteY2" fmla="*/ 1354298 h 1617884"/>
              <a:gd name="connsiteX3" fmla="*/ 195058 w 1587071"/>
              <a:gd name="connsiteY3" fmla="*/ 1469552 h 1617884"/>
              <a:gd name="connsiteX4" fmla="*/ 117924 w 1587071"/>
              <a:gd name="connsiteY4" fmla="*/ 286653 h 1617884"/>
              <a:gd name="connsiteX5" fmla="*/ 1080694 w 1587071"/>
              <a:gd name="connsiteY5" fmla="*/ 2111 h 1617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7071" h="1617884">
                <a:moveTo>
                  <a:pt x="1080694" y="2111"/>
                </a:moveTo>
                <a:cubicBezTo>
                  <a:pt x="1190217" y="8935"/>
                  <a:pt x="1281627" y="32584"/>
                  <a:pt x="1335962" y="77069"/>
                </a:cubicBezTo>
                <a:cubicBezTo>
                  <a:pt x="1553301" y="255010"/>
                  <a:pt x="1728930" y="983673"/>
                  <a:pt x="1421958" y="1354298"/>
                </a:cubicBezTo>
                <a:cubicBezTo>
                  <a:pt x="1114985" y="1724924"/>
                  <a:pt x="412396" y="1647494"/>
                  <a:pt x="195058" y="1469552"/>
                </a:cubicBezTo>
                <a:cubicBezTo>
                  <a:pt x="-22281" y="1291611"/>
                  <a:pt x="-72227" y="518733"/>
                  <a:pt x="117924" y="286653"/>
                </a:cubicBezTo>
                <a:cubicBezTo>
                  <a:pt x="260537" y="112592"/>
                  <a:pt x="752124" y="-18360"/>
                  <a:pt x="1080694" y="2111"/>
                </a:cubicBezTo>
                <a:close/>
              </a:path>
            </a:pathLst>
          </a:custGeom>
          <a:noFill/>
          <a:ln w="38100">
            <a:solidFill>
              <a:schemeClr val="tx2">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30" name="Freeform: Shape 29">
            <a:extLst>
              <a:ext uri="{FF2B5EF4-FFF2-40B4-BE49-F238E27FC236}">
                <a16:creationId xmlns:a16="http://schemas.microsoft.com/office/drawing/2014/main" id="{81D1FD9E-7F46-9CC5-FD0E-CFE3F35E0B93}"/>
              </a:ext>
            </a:extLst>
          </p:cNvPr>
          <p:cNvSpPr/>
          <p:nvPr userDrawn="1"/>
        </p:nvSpPr>
        <p:spPr>
          <a:xfrm>
            <a:off x="4952723" y="744767"/>
            <a:ext cx="3222584" cy="3871820"/>
          </a:xfrm>
          <a:custGeom>
            <a:avLst/>
            <a:gdLst>
              <a:gd name="connsiteX0" fmla="*/ 2760477 w 4296779"/>
              <a:gd name="connsiteY0" fmla="*/ 2182 h 3871820"/>
              <a:gd name="connsiteX1" fmla="*/ 4142305 w 4296779"/>
              <a:gd name="connsiteY1" fmla="*/ 239653 h 3871820"/>
              <a:gd name="connsiteX2" fmla="*/ 2987255 w 4296779"/>
              <a:gd name="connsiteY2" fmla="*/ 3853879 h 3871820"/>
              <a:gd name="connsiteX3" fmla="*/ 58868 w 4296779"/>
              <a:gd name="connsiteY3" fmla="*/ 1340210 h 3871820"/>
              <a:gd name="connsiteX4" fmla="*/ 2760477 w 4296779"/>
              <a:gd name="connsiteY4" fmla="*/ 2182 h 3871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96779" h="3871820">
                <a:moveTo>
                  <a:pt x="2760477" y="2182"/>
                </a:moveTo>
                <a:cubicBezTo>
                  <a:pt x="3405787" y="-16142"/>
                  <a:pt x="3959281" y="82548"/>
                  <a:pt x="4142305" y="239653"/>
                </a:cubicBezTo>
                <a:cubicBezTo>
                  <a:pt x="4630369" y="658598"/>
                  <a:pt x="3884388" y="3675893"/>
                  <a:pt x="2987255" y="3853879"/>
                </a:cubicBezTo>
                <a:cubicBezTo>
                  <a:pt x="2090123" y="4031864"/>
                  <a:pt x="-413986" y="2863263"/>
                  <a:pt x="58868" y="1340210"/>
                </a:cubicBezTo>
                <a:cubicBezTo>
                  <a:pt x="354402" y="388301"/>
                  <a:pt x="1684961" y="32723"/>
                  <a:pt x="2760477" y="2182"/>
                </a:cubicBezTo>
                <a:close/>
              </a:path>
            </a:pathLst>
          </a:cu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32" name="Freeform: Shape 31">
            <a:extLst>
              <a:ext uri="{FF2B5EF4-FFF2-40B4-BE49-F238E27FC236}">
                <a16:creationId xmlns:a16="http://schemas.microsoft.com/office/drawing/2014/main" id="{82D6A4FE-F065-45CD-09BA-E482AC8332CA}"/>
              </a:ext>
            </a:extLst>
          </p:cNvPr>
          <p:cNvSpPr/>
          <p:nvPr userDrawn="1"/>
        </p:nvSpPr>
        <p:spPr>
          <a:xfrm>
            <a:off x="4354632" y="896186"/>
            <a:ext cx="2391933" cy="3351598"/>
          </a:xfrm>
          <a:custGeom>
            <a:avLst/>
            <a:gdLst>
              <a:gd name="connsiteX0" fmla="*/ 2071935 w 3189244"/>
              <a:gd name="connsiteY0" fmla="*/ 14 h 3351598"/>
              <a:gd name="connsiteX1" fmla="*/ 2783364 w 3189244"/>
              <a:gd name="connsiteY1" fmla="*/ 1143621 h 3351598"/>
              <a:gd name="connsiteX2" fmla="*/ 780797 w 3189244"/>
              <a:gd name="connsiteY2" fmla="*/ 3350261 h 3351598"/>
              <a:gd name="connsiteX3" fmla="*/ 257684 w 3189244"/>
              <a:gd name="connsiteY3" fmla="*/ 1083349 h 3351598"/>
              <a:gd name="connsiteX4" fmla="*/ 2071935 w 3189244"/>
              <a:gd name="connsiteY4" fmla="*/ 14 h 3351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9244" h="3351598">
                <a:moveTo>
                  <a:pt x="2071935" y="14"/>
                </a:moveTo>
                <a:cubicBezTo>
                  <a:pt x="2987047" y="-3248"/>
                  <a:pt x="3653851" y="604848"/>
                  <a:pt x="2783364" y="1143621"/>
                </a:cubicBezTo>
                <a:cubicBezTo>
                  <a:pt x="1317282" y="2051027"/>
                  <a:pt x="1732770" y="3400004"/>
                  <a:pt x="780797" y="3350261"/>
                </a:cubicBezTo>
                <a:cubicBezTo>
                  <a:pt x="-171177" y="3300518"/>
                  <a:pt x="-130257" y="1727012"/>
                  <a:pt x="257684" y="1083349"/>
                </a:cubicBezTo>
                <a:cubicBezTo>
                  <a:pt x="703431" y="290682"/>
                  <a:pt x="1445805" y="2246"/>
                  <a:pt x="2071935" y="14"/>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 name="Title 1">
            <a:extLst>
              <a:ext uri="{FF2B5EF4-FFF2-40B4-BE49-F238E27FC236}">
                <a16:creationId xmlns:a16="http://schemas.microsoft.com/office/drawing/2014/main" id="{A2DFA2E8-50A1-4465-AC33-6FAC0E7736E9}"/>
              </a:ext>
            </a:extLst>
          </p:cNvPr>
          <p:cNvSpPr>
            <a:spLocks noGrp="1"/>
          </p:cNvSpPr>
          <p:nvPr>
            <p:ph type="title"/>
          </p:nvPr>
        </p:nvSpPr>
        <p:spPr>
          <a:xfrm>
            <a:off x="596646" y="2057400"/>
            <a:ext cx="3833622" cy="768096"/>
          </a:xfrm>
        </p:spPr>
        <p:txBody>
          <a:bodyPr anchor="t">
            <a:noAutofit/>
          </a:bodyPr>
          <a:lstStyle>
            <a:lvl1pPr>
              <a:defRPr sz="4500"/>
            </a:lvl1pPr>
          </a:lstStyle>
          <a:p>
            <a:r>
              <a:rPr lang="en-US"/>
              <a:t>Click to edit Master title style</a:t>
            </a:r>
          </a:p>
        </p:txBody>
      </p:sp>
      <p:sp>
        <p:nvSpPr>
          <p:cNvPr id="35" name="Picture Placeholder 34">
            <a:extLst>
              <a:ext uri="{FF2B5EF4-FFF2-40B4-BE49-F238E27FC236}">
                <a16:creationId xmlns:a16="http://schemas.microsoft.com/office/drawing/2014/main" id="{C90065D6-5C4A-C957-7A05-08EC8C71BAD4}"/>
              </a:ext>
            </a:extLst>
          </p:cNvPr>
          <p:cNvSpPr>
            <a:spLocks noGrp="1"/>
          </p:cNvSpPr>
          <p:nvPr>
            <p:ph type="pic" sz="quarter" idx="10"/>
          </p:nvPr>
        </p:nvSpPr>
        <p:spPr>
          <a:xfrm>
            <a:off x="4317139" y="1043832"/>
            <a:ext cx="4107824" cy="4220903"/>
          </a:xfrm>
          <a:custGeom>
            <a:avLst/>
            <a:gdLst>
              <a:gd name="connsiteX0" fmla="*/ 2987265 w 5477098"/>
              <a:gd name="connsiteY0" fmla="*/ 96 h 4220903"/>
              <a:gd name="connsiteX1" fmla="*/ 3333020 w 5477098"/>
              <a:gd name="connsiteY1" fmla="*/ 45043 h 4220903"/>
              <a:gd name="connsiteX2" fmla="*/ 5189513 w 5477098"/>
              <a:gd name="connsiteY2" fmla="*/ 3880636 h 4220903"/>
              <a:gd name="connsiteX3" fmla="*/ 120030 w 5477098"/>
              <a:gd name="connsiteY3" fmla="*/ 2650084 h 4220903"/>
              <a:gd name="connsiteX4" fmla="*/ 2987265 w 5477098"/>
              <a:gd name="connsiteY4" fmla="*/ 96 h 4220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77098" h="4220903">
                <a:moveTo>
                  <a:pt x="2987265" y="96"/>
                </a:moveTo>
                <a:cubicBezTo>
                  <a:pt x="3115358" y="-1320"/>
                  <a:pt x="3232097" y="12998"/>
                  <a:pt x="3333020" y="45043"/>
                </a:cubicBezTo>
                <a:cubicBezTo>
                  <a:pt x="4409531" y="386863"/>
                  <a:pt x="6171661" y="3053369"/>
                  <a:pt x="5189513" y="3880636"/>
                </a:cubicBezTo>
                <a:cubicBezTo>
                  <a:pt x="4207363" y="4707903"/>
                  <a:pt x="859554" y="3921716"/>
                  <a:pt x="120030" y="2650084"/>
                </a:cubicBezTo>
                <a:cubicBezTo>
                  <a:pt x="-550164" y="1497667"/>
                  <a:pt x="1749035" y="13782"/>
                  <a:pt x="2987265" y="96"/>
                </a:cubicBezTo>
                <a:close/>
              </a:path>
            </a:pathLst>
          </a:custGeom>
          <a:solidFill>
            <a:schemeClr val="bg1">
              <a:lumMod val="95000"/>
            </a:schemeClr>
          </a:solidFill>
        </p:spPr>
        <p:txBody>
          <a:bodyPr wrap="square" anchor="ctr">
            <a:noAutofit/>
          </a:bodyPr>
          <a:lstStyle>
            <a:lvl1pPr marL="0" indent="0" algn="ctr">
              <a:buNone/>
              <a:defRPr/>
            </a:lvl1pPr>
          </a:lstStyle>
          <a:p>
            <a:r>
              <a:rPr lang="en-US"/>
              <a:t>Click icon to add picture</a:t>
            </a:r>
          </a:p>
        </p:txBody>
      </p:sp>
      <p:grpSp>
        <p:nvGrpSpPr>
          <p:cNvPr id="10" name="Group 9">
            <a:extLst>
              <a:ext uri="{FF2B5EF4-FFF2-40B4-BE49-F238E27FC236}">
                <a16:creationId xmlns:a16="http://schemas.microsoft.com/office/drawing/2014/main" id="{D975C2DE-6A22-DAE2-6B10-2ECB862D6BF5}"/>
              </a:ext>
            </a:extLst>
          </p:cNvPr>
          <p:cNvGrpSpPr/>
          <p:nvPr userDrawn="1"/>
        </p:nvGrpSpPr>
        <p:grpSpPr>
          <a:xfrm>
            <a:off x="613002" y="3049989"/>
            <a:ext cx="2566951" cy="147360"/>
            <a:chOff x="3862913" y="5584851"/>
            <a:chExt cx="3422601" cy="147360"/>
          </a:xfrm>
        </p:grpSpPr>
        <p:sp>
          <p:nvSpPr>
            <p:cNvPr id="11" name="Rectangle 10">
              <a:extLst>
                <a:ext uri="{FF2B5EF4-FFF2-40B4-BE49-F238E27FC236}">
                  <a16:creationId xmlns:a16="http://schemas.microsoft.com/office/drawing/2014/main" id="{4F2770E3-337E-E3A7-C172-8E8E3DC3D324}"/>
                </a:ext>
              </a:extLst>
            </p:cNvPr>
            <p:cNvSpPr/>
            <p:nvPr/>
          </p:nvSpPr>
          <p:spPr>
            <a:xfrm>
              <a:off x="3908929" y="5609493"/>
              <a:ext cx="661045" cy="1078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12" name="Rectangle 11">
              <a:extLst>
                <a:ext uri="{FF2B5EF4-FFF2-40B4-BE49-F238E27FC236}">
                  <a16:creationId xmlns:a16="http://schemas.microsoft.com/office/drawing/2014/main" id="{5820BA79-4710-0264-8610-CC116C1F2A03}"/>
                </a:ext>
              </a:extLst>
            </p:cNvPr>
            <p:cNvSpPr/>
            <p:nvPr/>
          </p:nvSpPr>
          <p:spPr>
            <a:xfrm>
              <a:off x="5222038" y="5613190"/>
              <a:ext cx="661045" cy="10784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13" name="Rectangle 12">
              <a:extLst>
                <a:ext uri="{FF2B5EF4-FFF2-40B4-BE49-F238E27FC236}">
                  <a16:creationId xmlns:a16="http://schemas.microsoft.com/office/drawing/2014/main" id="{45D72681-5FD2-21B1-3188-87FCA580741D}"/>
                </a:ext>
              </a:extLst>
            </p:cNvPr>
            <p:cNvSpPr/>
            <p:nvPr/>
          </p:nvSpPr>
          <p:spPr>
            <a:xfrm>
              <a:off x="6544127" y="5604473"/>
              <a:ext cx="661045" cy="1078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15" name="Rectangle 14">
              <a:extLst>
                <a:ext uri="{FF2B5EF4-FFF2-40B4-BE49-F238E27FC236}">
                  <a16:creationId xmlns:a16="http://schemas.microsoft.com/office/drawing/2014/main" id="{98DB5786-6B26-6BC9-4ADD-42F03E363CB8}"/>
                </a:ext>
              </a:extLst>
            </p:cNvPr>
            <p:cNvSpPr/>
            <p:nvPr/>
          </p:nvSpPr>
          <p:spPr>
            <a:xfrm>
              <a:off x="5883081" y="5602319"/>
              <a:ext cx="661045" cy="1078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16" name="Rectangle 15">
              <a:extLst>
                <a:ext uri="{FF2B5EF4-FFF2-40B4-BE49-F238E27FC236}">
                  <a16:creationId xmlns:a16="http://schemas.microsoft.com/office/drawing/2014/main" id="{79191DA6-D02E-05FC-D21D-9E50A9AA77F3}"/>
                </a:ext>
              </a:extLst>
            </p:cNvPr>
            <p:cNvSpPr/>
            <p:nvPr/>
          </p:nvSpPr>
          <p:spPr>
            <a:xfrm>
              <a:off x="4559264" y="5609493"/>
              <a:ext cx="661045" cy="1078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17" name="Rectangle 16">
              <a:extLst>
                <a:ext uri="{FF2B5EF4-FFF2-40B4-BE49-F238E27FC236}">
                  <a16:creationId xmlns:a16="http://schemas.microsoft.com/office/drawing/2014/main" id="{654B7F32-377B-3B1F-E2EB-B0A8227587BD}"/>
                </a:ext>
              </a:extLst>
            </p:cNvPr>
            <p:cNvSpPr/>
            <p:nvPr/>
          </p:nvSpPr>
          <p:spPr>
            <a:xfrm>
              <a:off x="3862913" y="5584851"/>
              <a:ext cx="3420960" cy="54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9" name="Rectangle 18">
              <a:extLst>
                <a:ext uri="{FF2B5EF4-FFF2-40B4-BE49-F238E27FC236}">
                  <a16:creationId xmlns:a16="http://schemas.microsoft.com/office/drawing/2014/main" id="{946FFC8C-1329-3F27-6A03-3C373937C167}"/>
                </a:ext>
              </a:extLst>
            </p:cNvPr>
            <p:cNvSpPr/>
            <p:nvPr/>
          </p:nvSpPr>
          <p:spPr>
            <a:xfrm>
              <a:off x="3864554" y="5677949"/>
              <a:ext cx="3420960" cy="54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sp>
        <p:nvSpPr>
          <p:cNvPr id="5" name="Text Placeholder 4">
            <a:extLst>
              <a:ext uri="{FF2B5EF4-FFF2-40B4-BE49-F238E27FC236}">
                <a16:creationId xmlns:a16="http://schemas.microsoft.com/office/drawing/2014/main" id="{99E26AF4-A700-7031-C1D2-542D050DE98F}"/>
              </a:ext>
            </a:extLst>
          </p:cNvPr>
          <p:cNvSpPr>
            <a:spLocks noGrp="1"/>
          </p:cNvSpPr>
          <p:nvPr>
            <p:ph type="body" sz="quarter" idx="11"/>
          </p:nvPr>
        </p:nvSpPr>
        <p:spPr>
          <a:xfrm>
            <a:off x="596503" y="3438145"/>
            <a:ext cx="3833813" cy="2024063"/>
          </a:xfrm>
        </p:spPr>
        <p:txBody>
          <a:bodyPr>
            <a:noAutofit/>
          </a:bodyPr>
          <a:lstStyle>
            <a:lvl1pPr marL="0" indent="0">
              <a:lnSpc>
                <a:spcPct val="100000"/>
              </a:lnSpc>
              <a:buNone/>
              <a:defRPr sz="1800" b="1">
                <a:latin typeface="Source Sans Pro" panose="020B0503030403020204" pitchFamily="34" charset="0"/>
                <a:ea typeface="Source Sans Pro" panose="020B0503030403020204" pitchFamily="34" charset="0"/>
              </a:defRPr>
            </a:lvl1pPr>
            <a:lvl2pPr marL="0" indent="0">
              <a:lnSpc>
                <a:spcPct val="100000"/>
              </a:lnSpc>
              <a:buNone/>
              <a:defRPr sz="1350"/>
            </a:lvl2pPr>
            <a:lvl3pPr marL="685800" indent="0">
              <a:buNone/>
              <a:defRPr/>
            </a:lvl3pPr>
            <a:lvl4pPr marL="1028700" indent="0">
              <a:buNone/>
              <a:defRPr/>
            </a:lvl4pPr>
            <a:lvl5pPr marL="1371600" indent="0">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853658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5ED18-7A07-47F1-8056-CD86B076AFE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a:xfrm>
            <a:off x="3028950" y="6356351"/>
            <a:ext cx="3086100" cy="365125"/>
          </a:xfrm>
          <a:prstGeom prst="rect">
            <a:avLst/>
          </a:prstGeom>
        </p:spPr>
        <p:txBody>
          <a:bodyPr/>
          <a:lstStyle/>
          <a:p>
            <a:r>
              <a:rPr lang="en-US"/>
              <a:t>Contoso grand opening event</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a:xfrm>
            <a:off x="6457950" y="6356351"/>
            <a:ext cx="2057400" cy="365125"/>
          </a:xfrm>
          <a:prstGeom prst="rect">
            <a:avLst/>
          </a:prstGeom>
        </p:spPr>
        <p:txBody>
          <a:bodyPr/>
          <a:lstStyle/>
          <a:p>
            <a:fld id="{294A09A9-5501-47C1-A89A-A340965A2BE2}" type="slidenum">
              <a:rPr lang="en-US" smtClean="0"/>
              <a:t>‹#›</a:t>
            </a:fld>
            <a:endParaRPr lang="en-US"/>
          </a:p>
        </p:txBody>
      </p:sp>
    </p:spTree>
    <p:extLst>
      <p:ext uri="{BB962C8B-B14F-4D97-AF65-F5344CB8AC3E}">
        <p14:creationId xmlns:p14="http://schemas.microsoft.com/office/powerpoint/2010/main" val="245782780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C39E44-C8F5-4FD0-8345-FA295CEA603C}"/>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7AC6CA6E-C1AB-4B24-80C7-A4B12640BE6F}"/>
              </a:ext>
            </a:extLst>
          </p:cNvPr>
          <p:cNvSpPr>
            <a:spLocks noGrp="1"/>
          </p:cNvSpPr>
          <p:nvPr>
            <p:ph type="ftr" sz="quarter" idx="11"/>
          </p:nvPr>
        </p:nvSpPr>
        <p:spPr>
          <a:xfrm>
            <a:off x="3028950" y="6356351"/>
            <a:ext cx="3086100" cy="365125"/>
          </a:xfrm>
          <a:prstGeom prst="rect">
            <a:avLst/>
          </a:prstGeom>
        </p:spPr>
        <p:txBody>
          <a:bodyPr/>
          <a:lstStyle/>
          <a:p>
            <a:r>
              <a:rPr lang="en-US"/>
              <a:t>Contoso grand opening event</a:t>
            </a:r>
          </a:p>
        </p:txBody>
      </p:sp>
      <p:sp>
        <p:nvSpPr>
          <p:cNvPr id="4" name="Slide Number Placeholder 3">
            <a:extLst>
              <a:ext uri="{FF2B5EF4-FFF2-40B4-BE49-F238E27FC236}">
                <a16:creationId xmlns:a16="http://schemas.microsoft.com/office/drawing/2014/main" id="{4F5EFB41-7AD3-4519-95E7-416BFA1AECAB}"/>
              </a:ext>
            </a:extLst>
          </p:cNvPr>
          <p:cNvSpPr>
            <a:spLocks noGrp="1"/>
          </p:cNvSpPr>
          <p:nvPr>
            <p:ph type="sldNum" sz="quarter" idx="12"/>
          </p:nvPr>
        </p:nvSpPr>
        <p:spPr>
          <a:xfrm>
            <a:off x="6457950" y="6356351"/>
            <a:ext cx="2057400" cy="365125"/>
          </a:xfrm>
          <a:prstGeom prst="rect">
            <a:avLst/>
          </a:prstGeom>
        </p:spPr>
        <p:txBody>
          <a:bodyPr/>
          <a:lstStyle/>
          <a:p>
            <a:fld id="{294A09A9-5501-47C1-A89A-A340965A2BE2}" type="slidenum">
              <a:rPr lang="en-US" smtClean="0"/>
              <a:t>‹#›</a:t>
            </a:fld>
            <a:endParaRPr lang="en-US"/>
          </a:p>
        </p:txBody>
      </p:sp>
    </p:spTree>
    <p:extLst>
      <p:ext uri="{BB962C8B-B14F-4D97-AF65-F5344CB8AC3E}">
        <p14:creationId xmlns:p14="http://schemas.microsoft.com/office/powerpoint/2010/main" val="238314820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5BD6A3-F987-4FCC-A6EF-2EF0D33C0888}"/>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4C3F06A0-63CE-4272-B90E-4F20296BFBEB}"/>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8467220-06E3-427A-B4D3-9B0030E09DBB}"/>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32943841-AE0F-41C9-97CC-D11B02495FE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F5AEF53B-C85C-47DB-ADE4-C1D9FA682945}"/>
              </a:ext>
            </a:extLst>
          </p:cNvPr>
          <p:cNvSpPr>
            <a:spLocks noGrp="1"/>
          </p:cNvSpPr>
          <p:nvPr>
            <p:ph type="ftr" sz="quarter" idx="11"/>
          </p:nvPr>
        </p:nvSpPr>
        <p:spPr>
          <a:xfrm>
            <a:off x="3028950" y="6356351"/>
            <a:ext cx="3086100" cy="365125"/>
          </a:xfrm>
          <a:prstGeom prst="rect">
            <a:avLst/>
          </a:prstGeom>
        </p:spPr>
        <p:txBody>
          <a:bodyPr/>
          <a:lstStyle/>
          <a:p>
            <a:r>
              <a:rPr lang="en-US"/>
              <a:t>Contoso grand opening event</a:t>
            </a:r>
          </a:p>
        </p:txBody>
      </p:sp>
      <p:sp>
        <p:nvSpPr>
          <p:cNvPr id="7" name="Slide Number Placeholder 6">
            <a:extLst>
              <a:ext uri="{FF2B5EF4-FFF2-40B4-BE49-F238E27FC236}">
                <a16:creationId xmlns:a16="http://schemas.microsoft.com/office/drawing/2014/main" id="{DFD4FD38-14E5-4C36-B948-8BF3F794ED8C}"/>
              </a:ext>
            </a:extLst>
          </p:cNvPr>
          <p:cNvSpPr>
            <a:spLocks noGrp="1"/>
          </p:cNvSpPr>
          <p:nvPr>
            <p:ph type="sldNum" sz="quarter" idx="12"/>
          </p:nvPr>
        </p:nvSpPr>
        <p:spPr>
          <a:xfrm>
            <a:off x="6457950" y="6356351"/>
            <a:ext cx="2057400" cy="365125"/>
          </a:xfrm>
          <a:prstGeom prst="rect">
            <a:avLst/>
          </a:prstGeom>
        </p:spPr>
        <p:txBody>
          <a:bodyPr/>
          <a:lstStyle/>
          <a:p>
            <a:fld id="{294A09A9-5501-47C1-A89A-A340965A2BE2}" type="slidenum">
              <a:rPr lang="en-US" smtClean="0"/>
              <a:t>‹#›</a:t>
            </a:fld>
            <a:endParaRPr lang="en-US"/>
          </a:p>
        </p:txBody>
      </p:sp>
    </p:spTree>
    <p:extLst>
      <p:ext uri="{BB962C8B-B14F-4D97-AF65-F5344CB8AC3E}">
        <p14:creationId xmlns:p14="http://schemas.microsoft.com/office/powerpoint/2010/main" val="329550771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cSld name="3_Two Content">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94729CA3-91C4-4A89-9448-A2F0E409177A}"/>
              </a:ext>
            </a:extLst>
          </p:cNvPr>
          <p:cNvSpPr>
            <a:spLocks noChangeAspect="1"/>
          </p:cNvSpPr>
          <p:nvPr/>
        </p:nvSpPr>
        <p:spPr>
          <a:xfrm>
            <a:off x="8302398" y="333375"/>
            <a:ext cx="270000" cy="360000"/>
          </a:xfrm>
          <a:prstGeom prst="ellipse">
            <a:avLst/>
          </a:prstGeom>
          <a:gradFill flip="none" rotWithShape="1">
            <a:gsLst>
              <a:gs pos="100000">
                <a:schemeClr val="bg2">
                  <a:lumMod val="50000"/>
                  <a:lumOff val="50000"/>
                </a:schemeClr>
              </a:gs>
              <a:gs pos="60000">
                <a:schemeClr val="bg2"/>
              </a:gs>
            </a:gsLst>
            <a:path path="circle">
              <a:fillToRect l="100000" b="100000"/>
            </a:path>
            <a:tileRect t="-100000" r="-100000"/>
          </a:gradFill>
          <a:ln>
            <a:noFill/>
          </a:ln>
          <a:effectLst>
            <a:innerShdw blurRad="127000" dist="63500" dir="2700000">
              <a:schemeClr val="accent1">
                <a:lumMod val="60000"/>
                <a:lumOff val="40000"/>
                <a:alpha val="20000"/>
              </a:schemeClr>
            </a:innerShdw>
            <a:softEdge rad="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a:p>
        </p:txBody>
      </p:sp>
      <p:grpSp>
        <p:nvGrpSpPr>
          <p:cNvPr id="13" name="Group 12">
            <a:extLst>
              <a:ext uri="{FF2B5EF4-FFF2-40B4-BE49-F238E27FC236}">
                <a16:creationId xmlns:a16="http://schemas.microsoft.com/office/drawing/2014/main" id="{168347B7-45FA-4A01-924D-DC385B720B3E}"/>
              </a:ext>
            </a:extLst>
          </p:cNvPr>
          <p:cNvGrpSpPr/>
          <p:nvPr/>
        </p:nvGrpSpPr>
        <p:grpSpPr>
          <a:xfrm>
            <a:off x="248839" y="5528198"/>
            <a:ext cx="473606" cy="667800"/>
            <a:chOff x="2994153" y="1378666"/>
            <a:chExt cx="631474" cy="667800"/>
          </a:xfrm>
        </p:grpSpPr>
        <p:sp>
          <p:nvSpPr>
            <p:cNvPr id="20" name="Freeform: Shape 19">
              <a:extLst>
                <a:ext uri="{FF2B5EF4-FFF2-40B4-BE49-F238E27FC236}">
                  <a16:creationId xmlns:a16="http://schemas.microsoft.com/office/drawing/2014/main" id="{31167DA1-25D1-4E60-A62E-42B6F56A96EC}"/>
                </a:ext>
              </a:extLst>
            </p:cNvPr>
            <p:cNvSpPr>
              <a:spLocks noChangeAspect="1"/>
            </p:cNvSpPr>
            <p:nvPr/>
          </p:nvSpPr>
          <p:spPr>
            <a:xfrm rot="2700000">
              <a:off x="3039890" y="1332929"/>
              <a:ext cx="540000" cy="631474"/>
            </a:xfrm>
            <a:custGeom>
              <a:avLst/>
              <a:gdLst>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0 w 1080000"/>
                <a:gd name="connsiteY9" fmla="*/ 931034 h 1262947"/>
                <a:gd name="connsiteX0" fmla="*/ 540000 w 1080000"/>
                <a:gd name="connsiteY0" fmla="*/ 0 h 1262947"/>
                <a:gd name="connsiteX1" fmla="*/ 1080000 w 1080000"/>
                <a:gd name="connsiteY1" fmla="*/ 931034 h 1262947"/>
                <a:gd name="connsiteX2" fmla="*/ 1064374 w 1080000"/>
                <a:gd name="connsiteY2" fmla="*/ 931034 h 1262947"/>
                <a:gd name="connsiteX3" fmla="*/ 1069029 w 1080000"/>
                <a:gd name="connsiteY3" fmla="*/ 938533 h 1262947"/>
                <a:gd name="connsiteX4" fmla="*/ 1080000 w 1080000"/>
                <a:gd name="connsiteY4" fmla="*/ 992947 h 1262947"/>
                <a:gd name="connsiteX5" fmla="*/ 540000 w 1080000"/>
                <a:gd name="connsiteY5" fmla="*/ 1262947 h 1262947"/>
                <a:gd name="connsiteX6" fmla="*/ 0 w 1080000"/>
                <a:gd name="connsiteY6" fmla="*/ 992947 h 1262947"/>
                <a:gd name="connsiteX7" fmla="*/ 10971 w 1080000"/>
                <a:gd name="connsiteY7" fmla="*/ 938533 h 1262947"/>
                <a:gd name="connsiteX8" fmla="*/ 15626 w 1080000"/>
                <a:gd name="connsiteY8" fmla="*/ 931034 h 1262947"/>
                <a:gd name="connsiteX9" fmla="*/ 540000 w 1080000"/>
                <a:gd name="connsiteY9" fmla="*/ 0 h 1262947"/>
                <a:gd name="connsiteX0" fmla="*/ 540000 w 1080000"/>
                <a:gd name="connsiteY0" fmla="*/ 0 h 1262947"/>
                <a:gd name="connsiteX1" fmla="*/ 1064374 w 1080000"/>
                <a:gd name="connsiteY1" fmla="*/ 931034 h 1262947"/>
                <a:gd name="connsiteX2" fmla="*/ 1069029 w 1080000"/>
                <a:gd name="connsiteY2" fmla="*/ 938533 h 1262947"/>
                <a:gd name="connsiteX3" fmla="*/ 1080000 w 1080000"/>
                <a:gd name="connsiteY3" fmla="*/ 992947 h 1262947"/>
                <a:gd name="connsiteX4" fmla="*/ 540000 w 1080000"/>
                <a:gd name="connsiteY4" fmla="*/ 1262947 h 1262947"/>
                <a:gd name="connsiteX5" fmla="*/ 0 w 1080000"/>
                <a:gd name="connsiteY5" fmla="*/ 992947 h 1262947"/>
                <a:gd name="connsiteX6" fmla="*/ 10971 w 1080000"/>
                <a:gd name="connsiteY6" fmla="*/ 938533 h 1262947"/>
                <a:gd name="connsiteX7" fmla="*/ 15626 w 1080000"/>
                <a:gd name="connsiteY7" fmla="*/ 931034 h 1262947"/>
                <a:gd name="connsiteX8" fmla="*/ 540000 w 1080000"/>
                <a:gd name="connsiteY8" fmla="*/ 0 h 126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80000" h="1262947">
                  <a:moveTo>
                    <a:pt x="540000" y="0"/>
                  </a:moveTo>
                  <a:lnTo>
                    <a:pt x="1064374" y="931034"/>
                  </a:lnTo>
                  <a:lnTo>
                    <a:pt x="1069029" y="938533"/>
                  </a:lnTo>
                  <a:cubicBezTo>
                    <a:pt x="1076223" y="956109"/>
                    <a:pt x="1080000" y="974307"/>
                    <a:pt x="1080000" y="992947"/>
                  </a:cubicBezTo>
                  <a:cubicBezTo>
                    <a:pt x="1080000" y="1142064"/>
                    <a:pt x="838234" y="1262947"/>
                    <a:pt x="540000" y="1262947"/>
                  </a:cubicBezTo>
                  <a:cubicBezTo>
                    <a:pt x="241766" y="1262947"/>
                    <a:pt x="0" y="1142064"/>
                    <a:pt x="0" y="992947"/>
                  </a:cubicBezTo>
                  <a:cubicBezTo>
                    <a:pt x="0" y="974307"/>
                    <a:pt x="3778" y="956109"/>
                    <a:pt x="10971" y="938533"/>
                  </a:cubicBezTo>
                  <a:lnTo>
                    <a:pt x="15626" y="931034"/>
                  </a:lnTo>
                  <a:lnTo>
                    <a:pt x="540000" y="0"/>
                  </a:lnTo>
                  <a:close/>
                </a:path>
              </a:pathLst>
            </a:custGeom>
            <a:gradFill>
              <a:gsLst>
                <a:gs pos="60000">
                  <a:schemeClr val="bg2">
                    <a:lumMod val="90000"/>
                    <a:lumOff val="10000"/>
                  </a:schemeClr>
                </a:gs>
                <a:gs pos="30000">
                  <a:schemeClr val="bg2">
                    <a:lumMod val="90000"/>
                    <a:lumOff val="10000"/>
                  </a:schemeClr>
                </a:gs>
                <a:gs pos="40000">
                  <a:schemeClr val="bg2">
                    <a:lumMod val="75000"/>
                    <a:lumOff val="25000"/>
                  </a:schemeClr>
                </a:gs>
                <a:gs pos="100000">
                  <a:schemeClr val="bg2"/>
                </a:gs>
              </a:gsLst>
              <a:lin ang="600000" scaled="0"/>
            </a:gradFill>
            <a:ln>
              <a:noFill/>
            </a:ln>
            <a:effectLst>
              <a:innerShdw blurRad="254000" dist="101600" dir="2700000">
                <a:schemeClr val="accent1">
                  <a:lumMod val="60000"/>
                  <a:lumOff val="40000"/>
                  <a:alpha val="2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Oval 20">
              <a:extLst>
                <a:ext uri="{FF2B5EF4-FFF2-40B4-BE49-F238E27FC236}">
                  <a16:creationId xmlns:a16="http://schemas.microsoft.com/office/drawing/2014/main" id="{6B7B7215-A661-477E-91D0-CDBE5564D2B9}"/>
                </a:ext>
              </a:extLst>
            </p:cNvPr>
            <p:cNvSpPr/>
            <p:nvPr/>
          </p:nvSpPr>
          <p:spPr>
            <a:xfrm rot="8100000">
              <a:off x="3047090" y="1506466"/>
              <a:ext cx="270000" cy="540000"/>
            </a:xfrm>
            <a:prstGeom prst="ellipse">
              <a:avLst/>
            </a:prstGeom>
            <a:gradFill>
              <a:gsLst>
                <a:gs pos="100000">
                  <a:schemeClr val="bg2">
                    <a:lumMod val="90000"/>
                    <a:lumOff val="10000"/>
                  </a:schemeClr>
                </a:gs>
                <a:gs pos="50000">
                  <a:schemeClr val="bg2">
                    <a:lumMod val="95000"/>
                    <a:lumOff val="5000"/>
                  </a:schemeClr>
                </a:gs>
              </a:gsLst>
              <a:lin ang="5400000" scaled="0"/>
            </a:gradFill>
            <a:ln>
              <a:noFill/>
            </a:ln>
            <a:effectLst>
              <a:innerShdw blurRad="1270000" dist="2540000">
                <a:schemeClr val="accent1">
                  <a:lumMod val="60000"/>
                  <a:lumOff val="40000"/>
                  <a:alpha val="0"/>
                </a:scheme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2" name="Title 1">
            <a:extLst>
              <a:ext uri="{FF2B5EF4-FFF2-40B4-BE49-F238E27FC236}">
                <a16:creationId xmlns:a16="http://schemas.microsoft.com/office/drawing/2014/main" id="{8978E540-142B-4A82-9C3F-E61BC190AEED}"/>
              </a:ext>
            </a:extLst>
          </p:cNvPr>
          <p:cNvSpPr>
            <a:spLocks noGrp="1"/>
          </p:cNvSpPr>
          <p:nvPr>
            <p:ph type="title"/>
          </p:nvPr>
        </p:nvSpPr>
        <p:spPr>
          <a:xfrm>
            <a:off x="413147" y="549275"/>
            <a:ext cx="8317706" cy="1332000"/>
          </a:xfrm>
        </p:spPr>
        <p:txBody>
          <a:bodyPr>
            <a:noAutofit/>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02C6BF36-D4F5-4363-B440-BDAE50BBD4B6}"/>
              </a:ext>
            </a:extLst>
          </p:cNvPr>
          <p:cNvSpPr>
            <a:spLocks noGrp="1"/>
          </p:cNvSpPr>
          <p:nvPr>
            <p:ph sz="half" idx="1"/>
          </p:nvPr>
        </p:nvSpPr>
        <p:spPr>
          <a:xfrm>
            <a:off x="413147" y="2097175"/>
            <a:ext cx="4076700" cy="399565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362910-87AA-4E67-992D-8D4822FD89FE}"/>
              </a:ext>
            </a:extLst>
          </p:cNvPr>
          <p:cNvSpPr>
            <a:spLocks noGrp="1"/>
          </p:cNvSpPr>
          <p:nvPr>
            <p:ph sz="half" idx="2"/>
          </p:nvPr>
        </p:nvSpPr>
        <p:spPr>
          <a:xfrm>
            <a:off x="4654154" y="2097175"/>
            <a:ext cx="4076700" cy="399565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B99A8AF-0998-4613-B1D8-C14ECBFFDF67}"/>
              </a:ext>
            </a:extLst>
          </p:cNvPr>
          <p:cNvSpPr>
            <a:spLocks noGrp="1"/>
          </p:cNvSpPr>
          <p:nvPr>
            <p:ph type="dt" sz="half" idx="10"/>
          </p:nvPr>
        </p:nvSpPr>
        <p:spPr/>
        <p:txBody>
          <a:bodyPr>
            <a:noAutofit/>
          </a:bodyPr>
          <a:lstStyle/>
          <a:p>
            <a:r>
              <a:rPr lang="en-US"/>
              <a:t>Tuesday, February 2, 20XX</a:t>
            </a:r>
          </a:p>
        </p:txBody>
      </p:sp>
      <p:sp>
        <p:nvSpPr>
          <p:cNvPr id="6" name="Footer Placeholder 5">
            <a:extLst>
              <a:ext uri="{FF2B5EF4-FFF2-40B4-BE49-F238E27FC236}">
                <a16:creationId xmlns:a16="http://schemas.microsoft.com/office/drawing/2014/main" id="{66E44EAA-B8A9-4428-A9DF-1174DA940990}"/>
              </a:ext>
            </a:extLst>
          </p:cNvPr>
          <p:cNvSpPr>
            <a:spLocks noGrp="1"/>
          </p:cNvSpPr>
          <p:nvPr>
            <p:ph type="ftr" sz="quarter" idx="11"/>
          </p:nvPr>
        </p:nvSpPr>
        <p:spPr/>
        <p:txBody>
          <a:bodyPr>
            <a:noAutofit/>
          </a:bodyPr>
          <a:lstStyle/>
          <a:p>
            <a:r>
              <a:rPr lang="en-US"/>
              <a:t>Sample Footer Text</a:t>
            </a:r>
          </a:p>
        </p:txBody>
      </p:sp>
      <p:sp>
        <p:nvSpPr>
          <p:cNvPr id="7" name="Slide Number Placeholder 6">
            <a:extLst>
              <a:ext uri="{FF2B5EF4-FFF2-40B4-BE49-F238E27FC236}">
                <a16:creationId xmlns:a16="http://schemas.microsoft.com/office/drawing/2014/main" id="{19E5C381-C899-4BF9-B584-2D78074D1CB2}"/>
              </a:ext>
            </a:extLst>
          </p:cNvPr>
          <p:cNvSpPr>
            <a:spLocks noGrp="1"/>
          </p:cNvSpPr>
          <p:nvPr>
            <p:ph type="sldNum" sz="quarter" idx="12"/>
          </p:nvPr>
        </p:nvSpPr>
        <p:spPr/>
        <p:txBody>
          <a:bodyPr>
            <a:noAutofit/>
          </a:bodyPr>
          <a:lstStyle/>
          <a:p>
            <a:fld id="{DBA1B0FB-D917-4C8C-928F-313BD683BF39}" type="slidenum">
              <a:rPr lang="en-US" smtClean="0"/>
              <a:t>‹#›</a:t>
            </a:fld>
            <a:endParaRPr lang="en-US"/>
          </a:p>
        </p:txBody>
      </p:sp>
    </p:spTree>
    <p:extLst>
      <p:ext uri="{BB962C8B-B14F-4D97-AF65-F5344CB8AC3E}">
        <p14:creationId xmlns:p14="http://schemas.microsoft.com/office/powerpoint/2010/main" val="27228485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955F01-024E-B497-D7C9-BB7B9BA5AE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393449-152C-D45C-216D-E003AAA29B5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F650A0-35AC-F863-1425-AE5B2798F061}"/>
              </a:ext>
            </a:extLst>
          </p:cNvPr>
          <p:cNvSpPr>
            <a:spLocks noGrp="1"/>
          </p:cNvSpPr>
          <p:nvPr>
            <p:ph type="dt" sz="half" idx="10"/>
          </p:nvPr>
        </p:nvSpPr>
        <p:spPr/>
        <p:txBody>
          <a:bodyPr/>
          <a:lstStyle/>
          <a:p>
            <a:fld id="{841AFB9A-46A0-4021-9F4A-D444CBE1DD51}" type="datetimeFigureOut">
              <a:rPr lang="en-US" smtClean="0"/>
              <a:t>5/14/25</a:t>
            </a:fld>
            <a:endParaRPr lang="en-US"/>
          </a:p>
        </p:txBody>
      </p:sp>
      <p:sp>
        <p:nvSpPr>
          <p:cNvPr id="5" name="Footer Placeholder 4">
            <a:extLst>
              <a:ext uri="{FF2B5EF4-FFF2-40B4-BE49-F238E27FC236}">
                <a16:creationId xmlns:a16="http://schemas.microsoft.com/office/drawing/2014/main" id="{431F3703-5871-077A-F585-3F94393DEA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3E2722-6C36-8C9C-05AF-946F1E243184}"/>
              </a:ext>
            </a:extLst>
          </p:cNvPr>
          <p:cNvSpPr>
            <a:spLocks noGrp="1"/>
          </p:cNvSpPr>
          <p:nvPr>
            <p:ph type="sldNum" sz="quarter" idx="12"/>
          </p:nvPr>
        </p:nvSpPr>
        <p:spPr/>
        <p:txBody>
          <a:bodyPr/>
          <a:lstStyle/>
          <a:p>
            <a:fld id="{606776CB-43A1-4978-8F11-C662227D8B63}" type="slidenum">
              <a:rPr lang="en-US" smtClean="0"/>
              <a:t>‹#›</a:t>
            </a:fld>
            <a:endParaRPr lang="en-US"/>
          </a:p>
        </p:txBody>
      </p:sp>
    </p:spTree>
    <p:extLst>
      <p:ext uri="{BB962C8B-B14F-4D97-AF65-F5344CB8AC3E}">
        <p14:creationId xmlns:p14="http://schemas.microsoft.com/office/powerpoint/2010/main" val="77771185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5101A-DCD7-DC3C-509E-CBCEE0ACA6A6}"/>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CF75A23-B802-9B82-D2B8-52B40C63CAE5}"/>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C92DCE31-C698-D68C-2A18-BD5BD4A92C20}"/>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B413E2C-B3B7-041F-0C5C-716E57DE60CC}"/>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DEC9DBFA-5251-1D78-6392-047DF2702D1F}"/>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2AFA4F-1771-3594-5BFE-FA35B93B18EA}"/>
              </a:ext>
            </a:extLst>
          </p:cNvPr>
          <p:cNvSpPr>
            <a:spLocks noGrp="1"/>
          </p:cNvSpPr>
          <p:nvPr>
            <p:ph type="dt" sz="half" idx="10"/>
          </p:nvPr>
        </p:nvSpPr>
        <p:spPr/>
        <p:txBody>
          <a:bodyPr/>
          <a:lstStyle/>
          <a:p>
            <a:fld id="{841AFB9A-46A0-4021-9F4A-D444CBE1DD51}" type="datetimeFigureOut">
              <a:rPr lang="en-US" smtClean="0"/>
              <a:t>5/14/25</a:t>
            </a:fld>
            <a:endParaRPr lang="en-US"/>
          </a:p>
        </p:txBody>
      </p:sp>
      <p:sp>
        <p:nvSpPr>
          <p:cNvPr id="8" name="Footer Placeholder 7">
            <a:extLst>
              <a:ext uri="{FF2B5EF4-FFF2-40B4-BE49-F238E27FC236}">
                <a16:creationId xmlns:a16="http://schemas.microsoft.com/office/drawing/2014/main" id="{8CC85031-B0B1-58F1-569D-E4504093EFE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D2FD94D-BD39-FE83-F651-0B7D68882D0E}"/>
              </a:ext>
            </a:extLst>
          </p:cNvPr>
          <p:cNvSpPr>
            <a:spLocks noGrp="1"/>
          </p:cNvSpPr>
          <p:nvPr>
            <p:ph type="sldNum" sz="quarter" idx="12"/>
          </p:nvPr>
        </p:nvSpPr>
        <p:spPr/>
        <p:txBody>
          <a:bodyPr/>
          <a:lstStyle/>
          <a:p>
            <a:fld id="{606776CB-43A1-4978-8F11-C662227D8B63}" type="slidenum">
              <a:rPr lang="en-US" smtClean="0"/>
              <a:t>‹#›</a:t>
            </a:fld>
            <a:endParaRPr lang="en-US"/>
          </a:p>
        </p:txBody>
      </p:sp>
    </p:spTree>
    <p:extLst>
      <p:ext uri="{BB962C8B-B14F-4D97-AF65-F5344CB8AC3E}">
        <p14:creationId xmlns:p14="http://schemas.microsoft.com/office/powerpoint/2010/main" val="1275026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8"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a:solidFill>
                    <a:srgbClr val="000000"/>
                  </a:solidFill>
                  <a:latin typeface="Arial"/>
                </a:rPr>
                <a:t>CONFIDENTIAL AND PROPRIETARY</a:t>
              </a:r>
            </a:p>
            <a:p>
              <a:pPr defTabSz="820158" eaLnBrk="0" hangingPunct="0"/>
              <a:r>
                <a:rPr lang="en-US" sz="80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08" y="1777967"/>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808"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421286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5AB1D71B-E716-4924-8D30-F48482B25AB4}" type="datetime1">
              <a:rPr lang="en-US" altLang="en-US" smtClean="0"/>
              <a:t>5/14/25</a:t>
            </a:fld>
            <a:endParaRPr lang="en-US" altLang="en-US"/>
          </a:p>
        </p:txBody>
      </p:sp>
      <p:sp>
        <p:nvSpPr>
          <p:cNvPr id="3" name="Footer Placeholder 2"/>
          <p:cNvSpPr>
            <a:spLocks noGrp="1"/>
          </p:cNvSpPr>
          <p:nvPr>
            <p:ph type="ftr" sz="quarter" idx="11"/>
          </p:nvPr>
        </p:nvSpPr>
        <p:spPr/>
        <p:txBody>
          <a:bodyPr/>
          <a:lstStyle/>
          <a:p>
            <a:pPr>
              <a:defRPr/>
            </a:pPr>
            <a:endParaRPr lang="en-US" altLang="en-US"/>
          </a:p>
        </p:txBody>
      </p:sp>
      <p:sp>
        <p:nvSpPr>
          <p:cNvPr id="4" name="Slide Number Placeholder 3"/>
          <p:cNvSpPr>
            <a:spLocks noGrp="1"/>
          </p:cNvSpPr>
          <p:nvPr>
            <p:ph type="sldNum" sz="quarter" idx="12"/>
          </p:nvPr>
        </p:nvSpPr>
        <p:spPr/>
        <p:txBody>
          <a:bodyPr/>
          <a:lstStyle/>
          <a:p>
            <a:pPr>
              <a:defRPr/>
            </a:pPr>
            <a:fld id="{90A9E658-6C7B-4546-9FE3-35CF73600A22}" type="slidenum">
              <a:rPr lang="en-US" altLang="en-US" smtClean="0"/>
              <a:pPr>
                <a:defRPr/>
              </a:pPr>
              <a:t>‹#›</a:t>
            </a:fld>
            <a:endParaRPr lang="en-US" altLang="en-US"/>
          </a:p>
        </p:txBody>
      </p:sp>
    </p:spTree>
    <p:extLst>
      <p:ext uri="{BB962C8B-B14F-4D97-AF65-F5344CB8AC3E}">
        <p14:creationId xmlns:p14="http://schemas.microsoft.com/office/powerpoint/2010/main" val="37736162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C72D40F0-6AB9-4A9B-9030-95E7AD887794}" type="datetimeFigureOut">
              <a:rPr lang="en-US" b="1" smtClean="0">
                <a:solidFill>
                  <a:prstClr val="black">
                    <a:tint val="75000"/>
                  </a:prstClr>
                </a:solidFill>
              </a:rPr>
              <a:pPr>
                <a:defRPr/>
              </a:pPr>
              <a:t>5/14/25</a:t>
            </a:fld>
            <a:endParaRPr lang="en-US" b="1">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b="1">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9C0CE6A8-29A4-4DCA-8DF6-58DCCC5D35C7}" type="slidenum">
              <a:rPr lang="en-US" b="1" smtClean="0">
                <a:solidFill>
                  <a:prstClr val="black">
                    <a:tint val="75000"/>
                  </a:prstClr>
                </a:solidFill>
              </a:rPr>
              <a:pPr>
                <a:defRPr/>
              </a:pPr>
              <a:t>‹#›</a:t>
            </a:fld>
            <a:endParaRPr lang="en-US" b="1">
              <a:solidFill>
                <a:prstClr val="black">
                  <a:tint val="75000"/>
                </a:prstClr>
              </a:solidFill>
            </a:endParaRPr>
          </a:p>
        </p:txBody>
      </p:sp>
    </p:spTree>
    <p:extLst>
      <p:ext uri="{BB962C8B-B14F-4D97-AF65-F5344CB8AC3E}">
        <p14:creationId xmlns:p14="http://schemas.microsoft.com/office/powerpoint/2010/main" val="17767447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a:t>Click to edit Master title style</a:t>
            </a:r>
          </a:p>
        </p:txBody>
      </p:sp>
      <p:sp>
        <p:nvSpPr>
          <p:cNvPr id="6" name="Content Placeholder 7"/>
          <p:cNvSpPr>
            <a:spLocks noGrp="1"/>
          </p:cNvSpPr>
          <p:nvPr>
            <p:ph sz="half" idx="1"/>
          </p:nvPr>
        </p:nvSpPr>
        <p:spPr>
          <a:xfrm>
            <a:off x="533401" y="1939159"/>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7288647"/>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a:t>Click to edit Master title style</a:t>
            </a:r>
          </a:p>
        </p:txBody>
      </p:sp>
      <p:sp>
        <p:nvSpPr>
          <p:cNvPr id="3" name="Content Placeholder 2"/>
          <p:cNvSpPr>
            <a:spLocks noGrp="1"/>
          </p:cNvSpPr>
          <p:nvPr>
            <p:ph sz="half" idx="1"/>
          </p:nvPr>
        </p:nvSpPr>
        <p:spPr>
          <a:xfrm>
            <a:off x="533401"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306504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1188941021"/>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4"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1"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73030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1"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687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2277074"/>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40386069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01120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lIns="91430" tIns="45716" rIns="91430" bIns="45716"/>
          <a:lstStyle>
            <a:lvl1pPr algn="ctr" eaLnBrk="0" hangingPunct="0">
              <a:spcBef>
                <a:spcPct val="50000"/>
              </a:spcBef>
              <a:defRPr sz="1200" b="1">
                <a:solidFill>
                  <a:srgbClr val="FFFFFF"/>
                </a:solidFill>
                <a:latin typeface="+mn-lt"/>
              </a:defRPr>
            </a:lvl1pPr>
          </a:lstStyle>
          <a:p>
            <a:pPr>
              <a:defRPr/>
            </a:pPr>
            <a:endParaRPr lang="en-US"/>
          </a:p>
        </p:txBody>
      </p:sp>
      <p:sp>
        <p:nvSpPr>
          <p:cNvPr id="3"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lvl1pPr algn="ctr" eaLnBrk="0" hangingPunct="0">
              <a:spcBef>
                <a:spcPct val="50000"/>
              </a:spcBef>
              <a:defRPr sz="1200" b="1">
                <a:solidFill>
                  <a:srgbClr val="FFFFFF"/>
                </a:solidFill>
                <a:latin typeface="+mn-lt"/>
              </a:defRPr>
            </a:lvl1pPr>
          </a:lstStyle>
          <a:p>
            <a:pPr>
              <a:defRPr/>
            </a:pPr>
            <a:endParaRPr lang="en-US"/>
          </a:p>
        </p:txBody>
      </p:sp>
      <p:sp>
        <p:nvSpPr>
          <p:cNvPr id="4" name="Slide Number Placeholder 5"/>
          <p:cNvSpPr>
            <a:spLocks noGrp="1"/>
          </p:cNvSpPr>
          <p:nvPr>
            <p:ph type="sldNum" sz="quarter" idx="12"/>
          </p:nvPr>
        </p:nvSpPr>
        <p:spPr>
          <a:xfrm>
            <a:off x="6553200" y="6356350"/>
            <a:ext cx="2133600" cy="365125"/>
          </a:xfrm>
          <a:prstGeom prst="rect">
            <a:avLst/>
          </a:prstGeom>
        </p:spPr>
        <p:txBody>
          <a:bodyPr lIns="91430" tIns="45716" rIns="91430" bIns="45716"/>
          <a:lstStyle>
            <a:lvl1pPr algn="ctr" eaLnBrk="0" hangingPunct="0">
              <a:spcBef>
                <a:spcPct val="50000"/>
              </a:spcBef>
              <a:defRPr sz="1200" b="1">
                <a:solidFill>
                  <a:srgbClr val="FFFFFF"/>
                </a:solidFill>
                <a:latin typeface="+mn-lt"/>
              </a:defRPr>
            </a:lvl1pPr>
          </a:lstStyle>
          <a:p>
            <a:pPr>
              <a:defRPr/>
            </a:pPr>
            <a:fld id="{525B1E92-C86F-4366-A76D-C560614973E7}" type="slidenum">
              <a:rPr lang="en-US"/>
              <a:pPr>
                <a:defRPr/>
              </a:pPr>
              <a:t>‹#›</a:t>
            </a:fld>
            <a:endParaRPr lang="en-US"/>
          </a:p>
        </p:txBody>
      </p:sp>
    </p:spTree>
    <p:extLst>
      <p:ext uri="{BB962C8B-B14F-4D97-AF65-F5344CB8AC3E}">
        <p14:creationId xmlns:p14="http://schemas.microsoft.com/office/powerpoint/2010/main" val="22737188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a:t>Click to edit Master title style</a:t>
            </a:r>
          </a:p>
        </p:txBody>
      </p:sp>
      <p:sp>
        <p:nvSpPr>
          <p:cNvPr id="3" name="Subtitle 2"/>
          <p:cNvSpPr>
            <a:spLocks noGrp="1"/>
          </p:cNvSpPr>
          <p:nvPr>
            <p:ph type="subTitle" idx="1"/>
          </p:nvPr>
        </p:nvSpPr>
        <p:spPr>
          <a:xfrm>
            <a:off x="1371601" y="3886200"/>
            <a:ext cx="6400800" cy="1752600"/>
          </a:xfrm>
        </p:spPr>
        <p:txBody>
          <a:bodyPr/>
          <a:lstStyle>
            <a:lvl1pPr marL="0" indent="0" algn="ctr">
              <a:buNone/>
              <a:defRPr>
                <a:solidFill>
                  <a:schemeClr val="tx1">
                    <a:tint val="75000"/>
                  </a:schemeClr>
                </a:solidFill>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lIns="91430" tIns="45716" rIns="91430" bIns="45716"/>
          <a:lstStyle/>
          <a:p>
            <a:pPr fontAlgn="auto">
              <a:spcBef>
                <a:spcPts val="0"/>
              </a:spcBef>
              <a:spcAft>
                <a:spcPts val="0"/>
              </a:spcAft>
            </a:pPr>
            <a:endParaRPr lang="en-US">
              <a:solidFill>
                <a:srgbClr val="000000"/>
              </a:solidFill>
              <a:latin typeface="Arial"/>
            </a:endParaRPr>
          </a:p>
        </p:txBody>
      </p:sp>
      <p:sp>
        <p:nvSpPr>
          <p:cNvPr id="5" name="Footer Placeholder 4"/>
          <p:cNvSpPr>
            <a:spLocks noGrp="1"/>
          </p:cNvSpPr>
          <p:nvPr>
            <p:ph type="ftr" sz="quarter" idx="11"/>
          </p:nvPr>
        </p:nvSpPr>
        <p:spPr>
          <a:xfrm>
            <a:off x="3124201" y="6356350"/>
            <a:ext cx="2895600" cy="365125"/>
          </a:xfrm>
          <a:prstGeom prst="rect">
            <a:avLst/>
          </a:prstGeom>
        </p:spPr>
        <p:txBody>
          <a:bodyPr lIns="91430" tIns="45716" rIns="91430" bIns="45716"/>
          <a:lstStyle/>
          <a:p>
            <a:pPr fontAlgn="auto">
              <a:spcBef>
                <a:spcPts val="0"/>
              </a:spcBef>
              <a:spcAft>
                <a:spcPts val="0"/>
              </a:spcAft>
            </a:pPr>
            <a:endParaRPr lang="en-US">
              <a:solidFill>
                <a:srgbClr val="000000"/>
              </a:solidFill>
              <a:latin typeface="Aria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1430" tIns="45716" rIns="91430" bIns="45716"/>
          <a:lstStyle/>
          <a:p>
            <a:pPr fontAlgn="auto">
              <a:spcBef>
                <a:spcPts val="0"/>
              </a:spcBef>
              <a:spcAft>
                <a:spcPts val="0"/>
              </a:spcAft>
            </a:pPr>
            <a:fld id="{FA5B293D-BD75-4149-8A94-68671463D91E}" type="slidenum">
              <a:rPr lang="en-US" smtClean="0">
                <a:solidFill>
                  <a:srgbClr val="000000"/>
                </a:solidFill>
                <a:latin typeface="Arial"/>
              </a:rPr>
              <a:pPr fontAlgn="auto">
                <a:spcBef>
                  <a:spcPts val="0"/>
                </a:spcBef>
                <a:spcAft>
                  <a:spcPts val="0"/>
                </a:spcAft>
              </a:pPr>
              <a:t>‹#›</a:t>
            </a:fld>
            <a:endParaRPr lang="en-US">
              <a:solidFill>
                <a:srgbClr val="000000"/>
              </a:solidFill>
              <a:latin typeface="Arial"/>
            </a:endParaRPr>
          </a:p>
        </p:txBody>
      </p:sp>
    </p:spTree>
    <p:extLst>
      <p:ext uri="{BB962C8B-B14F-4D97-AF65-F5344CB8AC3E}">
        <p14:creationId xmlns:p14="http://schemas.microsoft.com/office/powerpoint/2010/main" val="21488879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83" name="Line 11"/>
          <p:cNvSpPr>
            <a:spLocks noChangeShapeType="1"/>
          </p:cNvSpPr>
          <p:nvPr/>
        </p:nvSpPr>
        <p:spPr bwMode="auto">
          <a:xfrm>
            <a:off x="2319777" y="3752850"/>
            <a:ext cx="5943600"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a:solidFill>
                <a:srgbClr val="000000"/>
              </a:solidFill>
            </a:endParaRPr>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6993"/>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hasCustomPrompt="1"/>
          </p:nvPr>
        </p:nvSpPr>
        <p:spPr>
          <a:xfrm>
            <a:off x="2256631" y="1798017"/>
            <a:ext cx="6069891" cy="1843430"/>
          </a:xfrm>
          <a:prstGeom prst="rect">
            <a:avLst/>
          </a:prstGeom>
        </p:spPr>
        <p:txBody>
          <a:bodyPr lIns="91430" tIns="45716" rIns="91430" bIns="45716" anchor="ctr"/>
          <a:lstStyle>
            <a:lvl1pPr>
              <a:lnSpc>
                <a:spcPct val="100000"/>
              </a:lnSpc>
              <a:spcAft>
                <a:spcPts val="612"/>
              </a:spcAft>
              <a:defRPr sz="2800" i="0" baseline="0">
                <a:solidFill>
                  <a:schemeClr val="accent3">
                    <a:lumMod val="50000"/>
                  </a:schemeClr>
                </a:solidFill>
              </a:defRPr>
            </a:lvl1pP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
        <p:nvSpPr>
          <p:cNvPr id="11" name="Date Placeholder 3"/>
          <p:cNvSpPr txBox="1">
            <a:spLocks/>
          </p:cNvSpPr>
          <p:nvPr userDrawn="1"/>
        </p:nvSpPr>
        <p:spPr>
          <a:xfrm>
            <a:off x="3543300" y="6446002"/>
            <a:ext cx="2057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a:solidFill>
                  <a:srgbClr val="000000"/>
                </a:solidFill>
              </a:rPr>
              <a:t>For Policy Development Purposes</a:t>
            </a:r>
          </a:p>
        </p:txBody>
      </p:sp>
      <p:sp>
        <p:nvSpPr>
          <p:cNvPr id="3" name="Text Placeholder 2"/>
          <p:cNvSpPr>
            <a:spLocks noGrp="1"/>
          </p:cNvSpPr>
          <p:nvPr>
            <p:ph type="body" sz="quarter" idx="10" hasCustomPrompt="1"/>
          </p:nvPr>
        </p:nvSpPr>
        <p:spPr>
          <a:xfrm>
            <a:off x="3767577" y="3864254"/>
            <a:ext cx="4572000" cy="457200"/>
          </a:xfrm>
          <a:prstGeom prst="rect">
            <a:avLst/>
          </a:prstGeom>
        </p:spPr>
        <p:txBody>
          <a:bodyPr lIns="0" tIns="0" rIns="0" bIns="0" anchor="ctr" anchorCtr="0"/>
          <a:lstStyle>
            <a:lvl1pPr marL="0" indent="0" algn="r">
              <a:buNone/>
              <a:defRPr sz="1800" baseline="0">
                <a:solidFill>
                  <a:srgbClr val="00269E"/>
                </a:solidFill>
                <a:latin typeface="Arial" panose="020B0604020202020204" pitchFamily="34" charset="0"/>
                <a:cs typeface="Arial" panose="020B0604020202020204" pitchFamily="34" charset="0"/>
              </a:defRPr>
            </a:lvl1pPr>
          </a:lstStyle>
          <a:p>
            <a:pPr lvl="0"/>
            <a:r>
              <a:rPr lang="en-US" sz="1800">
                <a:latin typeface="Arial" panose="020B0604020202020204" pitchFamily="34" charset="0"/>
                <a:cs typeface="Arial" panose="020B0604020202020204" pitchFamily="34" charset="0"/>
              </a:rPr>
              <a:t>CLICK TO ADD ISSUE TITLE</a:t>
            </a:r>
            <a:endParaRPr lang="en-US"/>
          </a:p>
        </p:txBody>
      </p:sp>
      <p:sp>
        <p:nvSpPr>
          <p:cNvPr id="12" name="Text Placeholder 2"/>
          <p:cNvSpPr>
            <a:spLocks noGrp="1"/>
          </p:cNvSpPr>
          <p:nvPr>
            <p:ph type="body" sz="quarter" idx="11" hasCustomPrompt="1"/>
          </p:nvPr>
        </p:nvSpPr>
        <p:spPr>
          <a:xfrm>
            <a:off x="3767577" y="4381499"/>
            <a:ext cx="4572000" cy="457200"/>
          </a:xfrm>
          <a:prstGeom prst="rect">
            <a:avLst/>
          </a:prstGeom>
        </p:spPr>
        <p:txBody>
          <a:bodyPr lIns="0" tIns="0" rIns="0" bIns="0" anchor="ctr" anchorCtr="0"/>
          <a:lstStyle>
            <a:lvl1pPr marL="0" indent="0" algn="r">
              <a:buNone/>
              <a:defRPr sz="1400" b="0" i="1" baseline="0">
                <a:solidFill>
                  <a:schemeClr val="accent3">
                    <a:lumMod val="50000"/>
                  </a:schemeClr>
                </a:solidFill>
                <a:latin typeface="Arial" panose="020B0604020202020204" pitchFamily="34" charset="0"/>
                <a:cs typeface="Arial" panose="020B0604020202020204" pitchFamily="34" charset="0"/>
              </a:defRPr>
            </a:lvl1pPr>
          </a:lstStyle>
          <a:p>
            <a:pPr lvl="0"/>
            <a:r>
              <a:rPr lang="en-US"/>
              <a:t>Click to add date (e.g. June 30, 2017)</a:t>
            </a:r>
          </a:p>
        </p:txBody>
      </p:sp>
    </p:spTree>
    <p:extLst>
      <p:ext uri="{BB962C8B-B14F-4D97-AF65-F5344CB8AC3E}">
        <p14:creationId xmlns:p14="http://schemas.microsoft.com/office/powerpoint/2010/main" val="38313479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5029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5859926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ng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4076596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oubl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4648301"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37835618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ouble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4648301"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6216438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riple">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228701" y="29943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228701" y="4708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41279016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ip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228701" y="29943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228701" y="4708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8301195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12391522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228702"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4648301"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4648301"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13805631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ad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228702"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4648301"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4648301"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7654406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ueBoxed">
    <p:spTree>
      <p:nvGrpSpPr>
        <p:cNvPr id="1" name=""/>
        <p:cNvGrpSpPr/>
        <p:nvPr/>
      </p:nvGrpSpPr>
      <p:grpSpPr>
        <a:xfrm>
          <a:off x="0" y="0"/>
          <a:ext cx="0" cy="0"/>
          <a:chOff x="0" y="0"/>
          <a:chExt cx="0" cy="0"/>
        </a:xfrm>
      </p:grpSpPr>
      <p:sp>
        <p:nvSpPr>
          <p:cNvPr id="6" name="Content Placeholder 8"/>
          <p:cNvSpPr>
            <a:spLocks noGrp="1"/>
          </p:cNvSpPr>
          <p:nvPr>
            <p:ph sz="quarter" idx="14"/>
          </p:nvPr>
        </p:nvSpPr>
        <p:spPr>
          <a:xfrm>
            <a:off x="228701" y="1737059"/>
            <a:ext cx="8686800" cy="45720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4"/>
          <p:cNvSpPr>
            <a:spLocks noGrp="1"/>
          </p:cNvSpPr>
          <p:nvPr>
            <p:ph type="body" sz="quarter" idx="16" hasCustomPrompt="1"/>
          </p:nvPr>
        </p:nvSpPr>
        <p:spPr>
          <a:xfrm>
            <a:off x="228701" y="1279858"/>
            <a:ext cx="8686800" cy="457200"/>
          </a:xfrm>
          <a:prstGeom prst="rect">
            <a:avLst/>
          </a:prstGeom>
          <a:solidFill>
            <a:schemeClr val="accent1">
              <a:lumMod val="50000"/>
            </a:schemeClr>
          </a:solidFill>
          <a:ln>
            <a:solidFill>
              <a:schemeClr val="tx1"/>
            </a:solidFill>
          </a:ln>
        </p:spPr>
        <p:txBody>
          <a:bodyPr lIns="91430" tIns="457152" rIns="91430" bIns="457152" anchor="ctr" anchorCtr="0"/>
          <a:lstStyle>
            <a:lvl1pPr marL="0" indent="0">
              <a:buNone/>
              <a:defRPr sz="1400" b="1" baseline="0">
                <a:solidFill>
                  <a:schemeClr val="bg1"/>
                </a:solidFill>
                <a:latin typeface="Arial" panose="020B0604020202020204" pitchFamily="34" charset="0"/>
                <a:cs typeface="Arial" panose="020B0604020202020204" pitchFamily="34" charset="0"/>
              </a:defRPr>
            </a:lvl1pPr>
          </a:lstStyle>
          <a:p>
            <a:pPr lvl="0"/>
            <a:r>
              <a:rPr lang="en-US"/>
              <a:t>Click to add subtitle</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0"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6752040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5"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004796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Shape 19"/>
          <p:cNvSpPr>
            <a:spLocks noGrp="1"/>
          </p:cNvSpPr>
          <p:nvPr>
            <p:ph type="body" sz="half" idx="20" hasCustomPrompt="1"/>
          </p:nvPr>
        </p:nvSpPr>
        <p:spPr>
          <a:xfrm>
            <a:off x="1532861" y="468569"/>
            <a:ext cx="6078281" cy="468433"/>
          </a:xfrm>
          <a:prstGeom prst="rect">
            <a:avLst/>
          </a:prstGeom>
          <a:noFill/>
          <a:ln>
            <a:noFill/>
          </a:ln>
        </p:spPr>
        <p:txBody>
          <a:bodyPr anchor="t">
            <a:normAutofit/>
          </a:bodyPr>
          <a:lstStyle>
            <a:lvl1pPr marL="0" indent="0" algn="ctr">
              <a:buClrTx/>
              <a:buSzTx/>
              <a:buFontTx/>
              <a:buNone/>
              <a:defRPr sz="1400" b="1" baseline="0">
                <a:solidFill>
                  <a:srgbClr val="FF0000"/>
                </a:solidFill>
              </a:defRPr>
            </a:lvl1pPr>
          </a:lstStyle>
          <a:p>
            <a:r>
              <a:rPr lang="en-US"/>
              <a:t>DRAFT</a:t>
            </a:r>
            <a:endParaRPr/>
          </a:p>
        </p:txBody>
      </p:sp>
      <p:sp>
        <p:nvSpPr>
          <p:cNvPr id="6" name="TextBox 5"/>
          <p:cNvSpPr txBox="1"/>
          <p:nvPr userDrawn="1"/>
        </p:nvSpPr>
        <p:spPr>
          <a:xfrm>
            <a:off x="7061105" y="365128"/>
            <a:ext cx="1435939" cy="249339"/>
          </a:xfrm>
          <a:prstGeom prst="rect">
            <a:avLst/>
          </a:prstGeom>
          <a:noFill/>
        </p:spPr>
        <p:txBody>
          <a:bodyPr wrap="none" lIns="91430" tIns="45716" rIns="91430" bIns="45716" rtlCol="0">
            <a:spAutoFit/>
          </a:bodyPr>
          <a:lstStyle/>
          <a:p>
            <a:pPr fontAlgn="auto">
              <a:spcBef>
                <a:spcPts val="0"/>
              </a:spcBef>
              <a:spcAft>
                <a:spcPts val="0"/>
              </a:spcAft>
            </a:pPr>
            <a:r>
              <a:rPr lang="en-US" sz="1000" kern="1000">
                <a:solidFill>
                  <a:srgbClr val="14558F"/>
                </a:solidFill>
                <a:latin typeface="Arial"/>
              </a:rPr>
              <a:t>Private &amp; Confidential</a:t>
            </a:r>
          </a:p>
        </p:txBody>
      </p:sp>
      <p:sp>
        <p:nvSpPr>
          <p:cNvPr id="3" name="Title 2"/>
          <p:cNvSpPr>
            <a:spLocks noGrp="1"/>
          </p:cNvSpPr>
          <p:nvPr>
            <p:ph type="title" hasCustomPrompt="1"/>
          </p:nvPr>
        </p:nvSpPr>
        <p:spPr>
          <a:xfrm>
            <a:off x="1143000" y="991055"/>
            <a:ext cx="6858001" cy="2522536"/>
          </a:xfrm>
          <a:noFill/>
        </p:spPr>
        <p:txBody>
          <a:bodyPr anchor="b">
            <a:normAutofit/>
          </a:bodyPr>
          <a:lstStyle>
            <a:lvl1pPr>
              <a:defRPr sz="3600" baseline="0">
                <a:solidFill>
                  <a:schemeClr val="accent1"/>
                </a:solidFill>
              </a:defRPr>
            </a:lvl1pPr>
          </a:lstStyle>
          <a:p>
            <a:r>
              <a:rPr lang="en-US"/>
              <a:t>Click to add title </a:t>
            </a:r>
          </a:p>
        </p:txBody>
      </p:sp>
      <p:sp>
        <p:nvSpPr>
          <p:cNvPr id="12" name="Subtitle 2"/>
          <p:cNvSpPr>
            <a:spLocks noGrp="1"/>
          </p:cNvSpPr>
          <p:nvPr>
            <p:ph type="subTitle" idx="1" hasCustomPrompt="1"/>
          </p:nvPr>
        </p:nvSpPr>
        <p:spPr>
          <a:xfrm>
            <a:off x="1143001" y="3602039"/>
            <a:ext cx="6858001" cy="646834"/>
          </a:xfrm>
          <a:noFill/>
        </p:spPr>
        <p:txBody>
          <a:bodyPr>
            <a:normAutofit/>
          </a:bodyPr>
          <a:lstStyle>
            <a:lvl1pPr marL="0" indent="0" algn="l">
              <a:buNone/>
              <a:defRPr sz="2400" baseline="0">
                <a:solidFill>
                  <a:schemeClr val="tx2"/>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a:t>Click to add subtitle</a:t>
            </a:r>
          </a:p>
        </p:txBody>
      </p:sp>
      <p:sp>
        <p:nvSpPr>
          <p:cNvPr id="16" name="Shape 32"/>
          <p:cNvSpPr/>
          <p:nvPr userDrawn="1"/>
        </p:nvSpPr>
        <p:spPr>
          <a:xfrm>
            <a:off x="4" y="5488104"/>
            <a:ext cx="9144001" cy="360501"/>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7" name="Shape 33"/>
          <p:cNvSpPr/>
          <p:nvPr userDrawn="1"/>
        </p:nvSpPr>
        <p:spPr>
          <a:xfrm>
            <a:off x="2" y="5542155"/>
            <a:ext cx="9144001" cy="400254"/>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a:solidFill>
                <a:srgbClr val="F2F2F2"/>
              </a:solidFill>
            </a:endParaRPr>
          </a:p>
        </p:txBody>
      </p:sp>
      <p:sp>
        <p:nvSpPr>
          <p:cNvPr id="20" name="Shape 17"/>
          <p:cNvSpPr/>
          <p:nvPr userDrawn="1"/>
        </p:nvSpPr>
        <p:spPr>
          <a:xfrm>
            <a:off x="1541721" y="5933924"/>
            <a:ext cx="6903033" cy="543226"/>
          </a:xfrm>
          <a:prstGeom prst="rect">
            <a:avLst/>
          </a:prstGeom>
          <a:ln w="12700">
            <a:miter lim="400000"/>
          </a:ln>
          <a:extLst>
            <a:ext uri="{C572A759-6A51-4108-AA02-DFA0A04FC94B}">
              <ma14:wrappingTextBoxFlag xmlns="" xmlns:ma14="http://schemas.microsoft.com/office/mac/drawingml/2011/main"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a:solidFill>
                  <a:srgbClr val="F2F2F2"/>
                </a:solidFill>
                <a:latin typeface="Arial"/>
              </a:rPr>
              <a:t>Executive Office of Technology Services and Security </a:t>
            </a:r>
            <a:r>
              <a:rPr lang="en-US" sz="1000" b="1">
                <a:solidFill>
                  <a:srgbClr val="F2F2F2"/>
                </a:solidFill>
                <a:latin typeface="Arial"/>
              </a:rPr>
              <a:t>(</a:t>
            </a:r>
            <a:r>
              <a:rPr sz="1000" b="1">
                <a:solidFill>
                  <a:srgbClr val="F2F2F2"/>
                </a:solidFill>
                <a:latin typeface="Arial"/>
              </a:rPr>
              <a:t>EOTSS</a:t>
            </a:r>
            <a:r>
              <a:rPr lang="en-US" sz="1000" b="1">
                <a:solidFill>
                  <a:srgbClr val="F2F2F2"/>
                </a:solidFill>
                <a:latin typeface="Arial"/>
              </a:rPr>
              <a:t>)</a:t>
            </a:r>
            <a:endParaRPr sz="1000" b="1">
              <a:solidFill>
                <a:srgbClr val="F2F2F2"/>
              </a:solidFill>
              <a:latin typeface="Arial"/>
            </a:endParaRPr>
          </a:p>
          <a:p>
            <a:pPr fontAlgn="auto">
              <a:spcBef>
                <a:spcPts val="0"/>
              </a:spcBef>
              <a:spcAft>
                <a:spcPts val="0"/>
              </a:spcAft>
              <a:defRPr sz="1000">
                <a:solidFill>
                  <a:srgbClr val="FFFFFF"/>
                </a:solidFill>
              </a:defRPr>
            </a:pPr>
            <a:r>
              <a:rPr sz="1000" i="1">
                <a:solidFill>
                  <a:srgbClr val="F2F2F2"/>
                </a:solidFill>
                <a:latin typeface="Arial"/>
              </a:rPr>
              <a:t>EOT</a:t>
            </a:r>
            <a:r>
              <a:rPr lang="en-US" sz="1000" i="1">
                <a:solidFill>
                  <a:srgbClr val="F2F2F2"/>
                </a:solidFill>
                <a:latin typeface="Arial"/>
              </a:rPr>
              <a:t>S</a:t>
            </a:r>
            <a:r>
              <a:rPr sz="1000" i="1">
                <a:solidFill>
                  <a:srgbClr val="F2F2F2"/>
                </a:solidFill>
                <a:latin typeface="Arial"/>
              </a:rPr>
              <a:t>S Mission: </a:t>
            </a:r>
            <a:r>
              <a:rPr lang="en-US" sz="1000" i="1">
                <a:solidFill>
                  <a:srgbClr val="F2F2F2"/>
                </a:solidFill>
                <a:latin typeface="Arial"/>
              </a:rPr>
              <a:t>To provide secure and quality digital information, services, and tools to constituents and service providers when and where they need them.</a:t>
            </a:r>
            <a:endParaRPr sz="1000" i="1">
              <a:solidFill>
                <a:srgbClr val="F2F2F2"/>
              </a:solidFill>
              <a:latin typeface="Arial"/>
            </a:endParaRPr>
          </a:p>
        </p:txBody>
      </p:sp>
      <p:sp>
        <p:nvSpPr>
          <p:cNvPr id="27" name="Shape 19"/>
          <p:cNvSpPr>
            <a:spLocks noGrp="1"/>
          </p:cNvSpPr>
          <p:nvPr>
            <p:ph type="body" sz="half" idx="19" hasCustomPrompt="1"/>
          </p:nvPr>
        </p:nvSpPr>
        <p:spPr>
          <a:xfrm>
            <a:off x="1143001" y="4295975"/>
            <a:ext cx="6857999" cy="403714"/>
          </a:xfrm>
          <a:prstGeom prst="rect">
            <a:avLst/>
          </a:prstGeom>
          <a:noFill/>
        </p:spPr>
        <p:txBody>
          <a:bodyPr anchor="b">
            <a:normAutofit/>
          </a:bodyPr>
          <a:lstStyle>
            <a:lvl1pPr marL="0" indent="0">
              <a:buClrTx/>
              <a:buSzTx/>
              <a:buFontTx/>
              <a:buNone/>
              <a:defRPr sz="1600" b="1" baseline="0">
                <a:solidFill>
                  <a:schemeClr val="tx2"/>
                </a:solidFill>
              </a:defRPr>
            </a:lvl1pPr>
          </a:lstStyle>
          <a:p>
            <a:r>
              <a:rPr lang="en-US"/>
              <a:t>Presenter’s name here</a:t>
            </a:r>
          </a:p>
        </p:txBody>
      </p:sp>
      <p:sp>
        <p:nvSpPr>
          <p:cNvPr id="28" name="Shape 19"/>
          <p:cNvSpPr>
            <a:spLocks noGrp="1"/>
          </p:cNvSpPr>
          <p:nvPr>
            <p:ph type="body" sz="half" idx="21" hasCustomPrompt="1"/>
          </p:nvPr>
        </p:nvSpPr>
        <p:spPr>
          <a:xfrm>
            <a:off x="1143001" y="4699689"/>
            <a:ext cx="6857998" cy="403714"/>
          </a:xfrm>
          <a:prstGeom prst="rect">
            <a:avLst/>
          </a:prstGeom>
          <a:noFill/>
        </p:spPr>
        <p:txBody>
          <a:bodyPr anchor="t">
            <a:normAutofit/>
          </a:bodyPr>
          <a:lstStyle>
            <a:lvl1pPr marL="0" indent="0">
              <a:buClrTx/>
              <a:buSzTx/>
              <a:buFontTx/>
              <a:buNone/>
              <a:defRPr sz="1400" b="0" baseline="0">
                <a:solidFill>
                  <a:schemeClr val="tx2"/>
                </a:solidFill>
              </a:defRPr>
            </a:lvl1pPr>
          </a:lstStyle>
          <a:p>
            <a:r>
              <a:rPr lang="en-US"/>
              <a:t>Presenter’s title here</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20906658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6" name="TextBox 5"/>
          <p:cNvSpPr txBox="1"/>
          <p:nvPr userDrawn="1"/>
        </p:nvSpPr>
        <p:spPr>
          <a:xfrm>
            <a:off x="7061105" y="365128"/>
            <a:ext cx="1435939" cy="249339"/>
          </a:xfrm>
          <a:prstGeom prst="rect">
            <a:avLst/>
          </a:prstGeom>
          <a:noFill/>
        </p:spPr>
        <p:txBody>
          <a:bodyPr wrap="none" lIns="91430" tIns="45716" rIns="91430" bIns="45716" rtlCol="0">
            <a:spAutoFit/>
          </a:bodyPr>
          <a:lstStyle/>
          <a:p>
            <a:pPr fontAlgn="auto">
              <a:spcBef>
                <a:spcPts val="0"/>
              </a:spcBef>
              <a:spcAft>
                <a:spcPts val="0"/>
              </a:spcAft>
            </a:pPr>
            <a:r>
              <a:rPr lang="en-US" sz="1000" kern="1000">
                <a:solidFill>
                  <a:srgbClr val="14558F"/>
                </a:solidFill>
                <a:latin typeface="Arial"/>
              </a:rPr>
              <a:t>Private &amp; Confidential</a:t>
            </a:r>
          </a:p>
        </p:txBody>
      </p:sp>
      <p:sp>
        <p:nvSpPr>
          <p:cNvPr id="3" name="Title 2"/>
          <p:cNvSpPr>
            <a:spLocks noGrp="1"/>
          </p:cNvSpPr>
          <p:nvPr>
            <p:ph type="title" hasCustomPrompt="1"/>
          </p:nvPr>
        </p:nvSpPr>
        <p:spPr>
          <a:xfrm>
            <a:off x="1657350" y="3519337"/>
            <a:ext cx="6858001" cy="649224"/>
          </a:xfrm>
        </p:spPr>
        <p:txBody>
          <a:bodyPr>
            <a:normAutofit/>
          </a:bodyPr>
          <a:lstStyle>
            <a:lvl1pPr>
              <a:defRPr sz="3600">
                <a:solidFill>
                  <a:schemeClr val="accent1"/>
                </a:solidFill>
              </a:defRPr>
            </a:lvl1pPr>
          </a:lstStyle>
          <a:p>
            <a:r>
              <a:rPr lang="en-US"/>
              <a:t>Click to add title </a:t>
            </a:r>
          </a:p>
        </p:txBody>
      </p:sp>
      <p:sp>
        <p:nvSpPr>
          <p:cNvPr id="12" name="Subtitle 2"/>
          <p:cNvSpPr>
            <a:spLocks noGrp="1"/>
          </p:cNvSpPr>
          <p:nvPr>
            <p:ph type="subTitle" idx="1" hasCustomPrompt="1"/>
          </p:nvPr>
        </p:nvSpPr>
        <p:spPr>
          <a:xfrm>
            <a:off x="1657350" y="4222615"/>
            <a:ext cx="6858001" cy="880788"/>
          </a:xfrm>
          <a:noFill/>
        </p:spPr>
        <p:txBody>
          <a:bodyPr>
            <a:normAutofit/>
          </a:bodyPr>
          <a:lstStyle>
            <a:lvl1pPr marL="0" indent="0" algn="l">
              <a:buNone/>
              <a:defRPr sz="2400" baseline="0">
                <a:solidFill>
                  <a:schemeClr val="tx2"/>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a:t>Click to add subtitle</a:t>
            </a:r>
          </a:p>
        </p:txBody>
      </p:sp>
      <p:sp>
        <p:nvSpPr>
          <p:cNvPr id="16" name="Shape 32"/>
          <p:cNvSpPr/>
          <p:nvPr userDrawn="1"/>
        </p:nvSpPr>
        <p:spPr>
          <a:xfrm>
            <a:off x="4" y="5488102"/>
            <a:ext cx="9144001" cy="5405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7" name="Shape 33"/>
          <p:cNvSpPr/>
          <p:nvPr userDrawn="1"/>
        </p:nvSpPr>
        <p:spPr>
          <a:xfrm>
            <a:off x="2" y="5542155"/>
            <a:ext cx="9144001" cy="11436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a:solidFill>
                <a:srgbClr val="F2F2F2"/>
              </a:solidFill>
            </a:endParaRPr>
          </a:p>
        </p:txBody>
      </p:sp>
      <p:sp>
        <p:nvSpPr>
          <p:cNvPr id="20" name="Shape 17"/>
          <p:cNvSpPr/>
          <p:nvPr userDrawn="1"/>
        </p:nvSpPr>
        <p:spPr>
          <a:xfrm>
            <a:off x="1541721" y="5933090"/>
            <a:ext cx="6903033" cy="544901"/>
          </a:xfrm>
          <a:prstGeom prst="rect">
            <a:avLst/>
          </a:prstGeom>
          <a:ln w="12700">
            <a:miter lim="400000"/>
          </a:ln>
          <a:extLst>
            <a:ext uri="{C572A759-6A51-4108-AA02-DFA0A04FC94B}">
              <ma14:wrappingTextBoxFlag xmlns="" xmlns:ma14="http://schemas.microsoft.com/office/mac/drawingml/2011/main"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a:solidFill>
                  <a:srgbClr val="F2F2F2"/>
                </a:solidFill>
                <a:latin typeface="Arial"/>
              </a:rPr>
              <a:t>Executive Office of Technology Services and Security </a:t>
            </a:r>
            <a:r>
              <a:rPr lang="en-US" sz="1000" b="1">
                <a:solidFill>
                  <a:srgbClr val="F2F2F2"/>
                </a:solidFill>
                <a:latin typeface="Arial"/>
              </a:rPr>
              <a:t>(</a:t>
            </a:r>
            <a:r>
              <a:rPr sz="1000" b="1">
                <a:solidFill>
                  <a:srgbClr val="F2F2F2"/>
                </a:solidFill>
                <a:latin typeface="Arial"/>
              </a:rPr>
              <a:t>EOTSS</a:t>
            </a:r>
            <a:r>
              <a:rPr lang="en-US" sz="1000" b="1">
                <a:solidFill>
                  <a:srgbClr val="F2F2F2"/>
                </a:solidFill>
                <a:latin typeface="Arial"/>
              </a:rPr>
              <a:t>)</a:t>
            </a:r>
            <a:endParaRPr sz="1000" b="1">
              <a:solidFill>
                <a:srgbClr val="F2F2F2"/>
              </a:solidFill>
              <a:latin typeface="Arial"/>
            </a:endParaRPr>
          </a:p>
          <a:p>
            <a:pPr fontAlgn="auto">
              <a:spcBef>
                <a:spcPts val="0"/>
              </a:spcBef>
              <a:spcAft>
                <a:spcPts val="0"/>
              </a:spcAft>
              <a:defRPr sz="1000">
                <a:solidFill>
                  <a:srgbClr val="FFFFFF"/>
                </a:solidFill>
              </a:defRPr>
            </a:pPr>
            <a:r>
              <a:rPr lang="en-US" sz="1000">
                <a:solidFill>
                  <a:srgbClr val="F2F2F2"/>
                </a:solidFill>
                <a:latin typeface="Arial"/>
              </a:rPr>
              <a:t>EOTSS Mission: To provide secure and quality digital information, services, and tools to constituents and service providers when and where they need them.</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3396777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a:noFill/>
        </p:spPr>
        <p:txBody>
          <a:bodyPr>
            <a:normAutofit/>
          </a:bodyPr>
          <a:lstStyle>
            <a:lvl1pPr marL="0" indent="0">
              <a:buNone/>
              <a:defRPr sz="1000" baseline="0"/>
            </a:lvl1pPr>
          </a:lstStyle>
          <a:p>
            <a:pPr lvl="0"/>
            <a:r>
              <a:rPr lang="en-US"/>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a:solidFill>
                <a:srgbClr val="141414">
                  <a:tint val="75000"/>
                </a:srgbClr>
              </a:solidFill>
            </a:endParaRPr>
          </a:p>
        </p:txBody>
      </p:sp>
      <p:sp>
        <p:nvSpPr>
          <p:cNvPr id="10"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1" name="Text Placeholder 14"/>
          <p:cNvSpPr>
            <a:spLocks noGrp="1"/>
          </p:cNvSpPr>
          <p:nvPr>
            <p:ph idx="1" hasCustomPrompt="1"/>
          </p:nvPr>
        </p:nvSpPr>
        <p:spPr>
          <a:xfrm>
            <a:off x="628650" y="1734693"/>
            <a:ext cx="7886700" cy="435133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2"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lvl1pPr algn="l">
              <a:defRPr baseline="0"/>
            </a:lvl1pPr>
          </a:lstStyle>
          <a:p>
            <a:r>
              <a:rPr lang="en-US"/>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0" indent="0">
              <a:buFont typeface="Arial" charset="0"/>
              <a:buNone/>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a:solidFill>
                  <a:srgbClr val="14558F"/>
                </a:solidFill>
              </a:rPr>
              <a:t>EOTSS  |  </a:t>
            </a:r>
            <a:fld id="{ADB5EE19-2DDD-0949-9666-AAFFBAB67E53}" type="slidenum">
              <a:rPr lang="en-US" smtClean="0">
                <a:solidFill>
                  <a:srgbClr val="14558F"/>
                </a:solidFill>
              </a:rPr>
              <a:pPr/>
              <a:t>‹#›</a:t>
            </a:fld>
            <a:endParaRPr lang="en-US">
              <a:solidFill>
                <a:srgbClr val="14558F"/>
              </a:solidFill>
            </a:endParaRPr>
          </a:p>
        </p:txBody>
      </p:sp>
    </p:spTree>
    <p:extLst>
      <p:ext uri="{BB962C8B-B14F-4D97-AF65-F5344CB8AC3E}">
        <p14:creationId xmlns:p14="http://schemas.microsoft.com/office/powerpoint/2010/main" val="39689338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Vertical">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a:solidFill>
                <a:srgbClr val="141414">
                  <a:tint val="75000"/>
                </a:srgbClr>
              </a:solidFill>
            </a:endParaRPr>
          </a:p>
        </p:txBody>
      </p:sp>
      <p:sp>
        <p:nvSpPr>
          <p:cNvPr id="11" name="Text Placeholder 14"/>
          <p:cNvSpPr>
            <a:spLocks noGrp="1"/>
          </p:cNvSpPr>
          <p:nvPr>
            <p:ph idx="1" hasCustomPrompt="1"/>
          </p:nvPr>
        </p:nvSpPr>
        <p:spPr>
          <a:xfrm>
            <a:off x="628650" y="2071335"/>
            <a:ext cx="3867912" cy="4014216"/>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a:solidFill>
                  <a:srgbClr val="14558F"/>
                </a:solidFill>
              </a:rPr>
              <a:t>EOTSS  |  </a:t>
            </a:r>
            <a:fld id="{ADB5EE19-2DDD-0949-9666-AAFFBAB67E53}" type="slidenum">
              <a:rPr lang="en-US" smtClean="0">
                <a:solidFill>
                  <a:srgbClr val="14558F"/>
                </a:solidFill>
              </a:rPr>
              <a:pPr/>
              <a:t>‹#›</a:t>
            </a:fld>
            <a:endParaRPr lang="en-US">
              <a:solidFill>
                <a:srgbClr val="14558F"/>
              </a:solidFill>
            </a:endParaRPr>
          </a:p>
        </p:txBody>
      </p:sp>
      <p:sp>
        <p:nvSpPr>
          <p:cNvPr id="14" name="Text Placeholder 14"/>
          <p:cNvSpPr>
            <a:spLocks noGrp="1"/>
          </p:cNvSpPr>
          <p:nvPr>
            <p:ph idx="15" hasCustomPrompt="1"/>
          </p:nvPr>
        </p:nvSpPr>
        <p:spPr>
          <a:xfrm>
            <a:off x="4645200" y="2071335"/>
            <a:ext cx="3867912" cy="4014216"/>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22"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23"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30276665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Horizontal">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a:solidFill>
                <a:srgbClr val="141414">
                  <a:tint val="75000"/>
                </a:srgbClr>
              </a:solidFill>
            </a:endParaRPr>
          </a:p>
        </p:txBody>
      </p:sp>
      <p:sp>
        <p:nvSpPr>
          <p:cNvPr id="11" name="Text Placeholder 14"/>
          <p:cNvSpPr>
            <a:spLocks noGrp="1"/>
          </p:cNvSpPr>
          <p:nvPr>
            <p:ph idx="1" hasCustomPrompt="1"/>
          </p:nvPr>
        </p:nvSpPr>
        <p:spPr>
          <a:xfrm>
            <a:off x="628651" y="2071335"/>
            <a:ext cx="789127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a:t>Click to add title</a:t>
            </a:r>
          </a:p>
        </p:txBody>
      </p:sp>
      <p:sp>
        <p:nvSpPr>
          <p:cNvPr id="19" name="Content Placeholder 18"/>
          <p:cNvSpPr>
            <a:spLocks noGrp="1"/>
          </p:cNvSpPr>
          <p:nvPr>
            <p:ph sz="quarter" idx="10" hasCustomPrompt="1"/>
          </p:nvPr>
        </p:nvSpPr>
        <p:spPr>
          <a:xfrm>
            <a:off x="1707643"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a:solidFill>
                  <a:srgbClr val="14558F"/>
                </a:solidFill>
              </a:rPr>
              <a:t>EOTSS  |  </a:t>
            </a:r>
            <a:fld id="{ADB5EE19-2DDD-0949-9666-AAFFBAB67E53}" type="slidenum">
              <a:rPr lang="en-US" smtClean="0">
                <a:solidFill>
                  <a:srgbClr val="14558F"/>
                </a:solidFill>
              </a:rPr>
              <a:pPr/>
              <a:t>‹#›</a:t>
            </a:fld>
            <a:endParaRPr lang="en-US">
              <a:solidFill>
                <a:srgbClr val="14558F"/>
              </a:solidFill>
            </a:endParaRPr>
          </a:p>
        </p:txBody>
      </p:sp>
      <p:sp>
        <p:nvSpPr>
          <p:cNvPr id="17" name="Text Placeholder 14"/>
          <p:cNvSpPr>
            <a:spLocks noGrp="1"/>
          </p:cNvSpPr>
          <p:nvPr>
            <p:ph idx="16" hasCustomPrompt="1"/>
          </p:nvPr>
        </p:nvSpPr>
        <p:spPr>
          <a:xfrm>
            <a:off x="628651" y="4284183"/>
            <a:ext cx="789127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8"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22"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22214596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ntent (1-2)">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a:solidFill>
                <a:srgbClr val="141414">
                  <a:tint val="75000"/>
                </a:srgbClr>
              </a:solidFill>
            </a:endParaRPr>
          </a:p>
        </p:txBody>
      </p:sp>
      <p:sp>
        <p:nvSpPr>
          <p:cNvPr id="11" name="Text Placeholder 14"/>
          <p:cNvSpPr>
            <a:spLocks noGrp="1"/>
          </p:cNvSpPr>
          <p:nvPr>
            <p:ph idx="1" hasCustomPrompt="1"/>
          </p:nvPr>
        </p:nvSpPr>
        <p:spPr>
          <a:xfrm>
            <a:off x="628650" y="2071335"/>
            <a:ext cx="3867912" cy="4014216"/>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a:solidFill>
                  <a:srgbClr val="14558F"/>
                </a:solidFill>
              </a:rPr>
              <a:t>EOTSS  |  </a:t>
            </a:r>
            <a:fld id="{ADB5EE19-2DDD-0949-9666-AAFFBAB67E53}" type="slidenum">
              <a:rPr lang="en-US" smtClean="0">
                <a:solidFill>
                  <a:srgbClr val="14558F"/>
                </a:solidFill>
              </a:rPr>
              <a:pPr/>
              <a:t>‹#›</a:t>
            </a:fld>
            <a:endParaRPr lang="en-US">
              <a:solidFill>
                <a:srgbClr val="14558F"/>
              </a:solidFill>
            </a:endParaRPr>
          </a:p>
        </p:txBody>
      </p:sp>
      <p:sp>
        <p:nvSpPr>
          <p:cNvPr id="14" name="Text Placeholder 14"/>
          <p:cNvSpPr>
            <a:spLocks noGrp="1"/>
          </p:cNvSpPr>
          <p:nvPr>
            <p:ph idx="15" hasCustomPrompt="1"/>
          </p:nvPr>
        </p:nvSpPr>
        <p:spPr>
          <a:xfrm>
            <a:off x="4645200" y="2071335"/>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4"/>
          <p:cNvSpPr>
            <a:spLocks noGrp="1"/>
          </p:cNvSpPr>
          <p:nvPr>
            <p:ph idx="16" hasCustomPrompt="1"/>
          </p:nvPr>
        </p:nvSpPr>
        <p:spPr>
          <a:xfrm>
            <a:off x="4645200" y="4284183"/>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8"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22"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8398445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oubl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4648301" y="1290463"/>
            <a:ext cx="4251960" cy="502920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15838333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Content (2-1)">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a:solidFill>
                <a:srgbClr val="141414">
                  <a:tint val="75000"/>
                </a:srgbClr>
              </a:solidFill>
            </a:endParaRPr>
          </a:p>
        </p:txBody>
      </p:sp>
      <p:sp>
        <p:nvSpPr>
          <p:cNvPr id="11" name="Text Placeholder 14"/>
          <p:cNvSpPr>
            <a:spLocks noGrp="1"/>
          </p:cNvSpPr>
          <p:nvPr>
            <p:ph idx="1" hasCustomPrompt="1"/>
          </p:nvPr>
        </p:nvSpPr>
        <p:spPr>
          <a:xfrm>
            <a:off x="4645200" y="2071335"/>
            <a:ext cx="3867912" cy="4014216"/>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a:solidFill>
                  <a:srgbClr val="14558F"/>
                </a:solidFill>
              </a:rPr>
              <a:t>EOTSS  |  </a:t>
            </a:r>
            <a:fld id="{ADB5EE19-2DDD-0949-9666-AAFFBAB67E53}" type="slidenum">
              <a:rPr lang="en-US" smtClean="0">
                <a:solidFill>
                  <a:srgbClr val="14558F"/>
                </a:solidFill>
              </a:rPr>
              <a:pPr/>
              <a:t>‹#›</a:t>
            </a:fld>
            <a:endParaRPr lang="en-US">
              <a:solidFill>
                <a:srgbClr val="14558F"/>
              </a:solidFill>
            </a:endParaRPr>
          </a:p>
        </p:txBody>
      </p:sp>
      <p:sp>
        <p:nvSpPr>
          <p:cNvPr id="14" name="Text Placeholder 14"/>
          <p:cNvSpPr>
            <a:spLocks noGrp="1"/>
          </p:cNvSpPr>
          <p:nvPr>
            <p:ph idx="15" hasCustomPrompt="1"/>
          </p:nvPr>
        </p:nvSpPr>
        <p:spPr>
          <a:xfrm>
            <a:off x="628650" y="2071335"/>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4"/>
          <p:cNvSpPr>
            <a:spLocks noGrp="1"/>
          </p:cNvSpPr>
          <p:nvPr>
            <p:ph idx="16" hasCustomPrompt="1"/>
          </p:nvPr>
        </p:nvSpPr>
        <p:spPr>
          <a:xfrm>
            <a:off x="628650" y="4284183"/>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8"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22"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70862836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a:solidFill>
                <a:srgbClr val="141414">
                  <a:tint val="75000"/>
                </a:srgbClr>
              </a:solidFill>
            </a:endParaRP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a:solidFill>
                  <a:srgbClr val="14558F"/>
                </a:solidFill>
              </a:rPr>
              <a:t>EOTSS  |  </a:t>
            </a:r>
            <a:fld id="{ADB5EE19-2DDD-0949-9666-AAFFBAB67E53}" type="slidenum">
              <a:rPr lang="en-US" smtClean="0">
                <a:solidFill>
                  <a:srgbClr val="14558F"/>
                </a:solidFill>
              </a:rPr>
              <a:pPr/>
              <a:t>‹#›</a:t>
            </a:fld>
            <a:endParaRPr lang="en-US">
              <a:solidFill>
                <a:srgbClr val="14558F"/>
              </a:solidFill>
            </a:endParaRPr>
          </a:p>
        </p:txBody>
      </p:sp>
      <p:sp>
        <p:nvSpPr>
          <p:cNvPr id="14" name="Text Placeholder 14"/>
          <p:cNvSpPr>
            <a:spLocks noGrp="1"/>
          </p:cNvSpPr>
          <p:nvPr>
            <p:ph idx="15" hasCustomPrompt="1"/>
          </p:nvPr>
        </p:nvSpPr>
        <p:spPr>
          <a:xfrm>
            <a:off x="628650" y="2071335"/>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7" name="Text Placeholder 14"/>
          <p:cNvSpPr>
            <a:spLocks noGrp="1"/>
          </p:cNvSpPr>
          <p:nvPr>
            <p:ph idx="16" hasCustomPrompt="1"/>
          </p:nvPr>
        </p:nvSpPr>
        <p:spPr>
          <a:xfrm>
            <a:off x="628650" y="4284183"/>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8" name="Text Placeholder 14"/>
          <p:cNvSpPr>
            <a:spLocks noGrp="1"/>
          </p:cNvSpPr>
          <p:nvPr>
            <p:ph idx="17" hasCustomPrompt="1"/>
          </p:nvPr>
        </p:nvSpPr>
        <p:spPr>
          <a:xfrm>
            <a:off x="4645200" y="2071335"/>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22" name="Text Placeholder 14"/>
          <p:cNvSpPr>
            <a:spLocks noGrp="1"/>
          </p:cNvSpPr>
          <p:nvPr>
            <p:ph idx="18" hasCustomPrompt="1"/>
          </p:nvPr>
        </p:nvSpPr>
        <p:spPr>
          <a:xfrm>
            <a:off x="4645200" y="4288558"/>
            <a:ext cx="3867912" cy="1801368"/>
          </a:xfrm>
          <a:prstGeom prst="rect">
            <a:avLst/>
          </a:prstGeom>
          <a:noFill/>
          <a:ln>
            <a:noFill/>
          </a:ln>
        </p:spPr>
        <p:style>
          <a:lnRef idx="2">
            <a:schemeClr val="accent2"/>
          </a:lnRef>
          <a:fillRef idx="1">
            <a:schemeClr val="lt1"/>
          </a:fillRef>
          <a:effectRef idx="0">
            <a:schemeClr val="accent2"/>
          </a:effectRef>
          <a:fontRef idx="none"/>
        </p:style>
        <p:txBody>
          <a:bodyPr vert="horz" lIns="91430" tIns="45716" rIns="91430" bIns="45716" rtlCol="0">
            <a:normAutofit/>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23"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24"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216352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0" name="Text Placeholder 17"/>
          <p:cNvSpPr>
            <a:spLocks noGrp="1"/>
          </p:cNvSpPr>
          <p:nvPr>
            <p:ph type="body" sz="quarter" idx="14" hasCustomPrompt="1"/>
          </p:nvPr>
        </p:nvSpPr>
        <p:spPr>
          <a:xfrm>
            <a:off x="628651" y="6292694"/>
            <a:ext cx="6984000" cy="246221"/>
          </a:xfrm>
        </p:spPr>
        <p:txBody>
          <a:bodyPr>
            <a:normAutofit/>
          </a:bodyPr>
          <a:lstStyle>
            <a:lvl1pPr marL="0" indent="0">
              <a:buNone/>
              <a:defRPr sz="1000" baseline="0"/>
            </a:lvl1pPr>
          </a:lstStyle>
          <a:p>
            <a:pPr lvl="0"/>
            <a:r>
              <a:rPr lang="en-US"/>
              <a:t>Click to add source</a:t>
            </a:r>
          </a:p>
        </p:txBody>
      </p:sp>
      <p:sp>
        <p:nvSpPr>
          <p:cNvPr id="7"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endParaRPr lang="en-US">
              <a:solidFill>
                <a:srgbClr val="141414">
                  <a:tint val="75000"/>
                </a:srgbClr>
              </a:solidFill>
            </a:endParaRPr>
          </a:p>
        </p:txBody>
      </p:sp>
      <p:sp>
        <p:nvSpPr>
          <p:cNvPr id="8" name="Footer Placeholder 4"/>
          <p:cNvSpPr>
            <a:spLocks noGrp="1"/>
          </p:cNvSpPr>
          <p:nvPr>
            <p:ph type="ftr" sz="quarter" idx="3"/>
          </p:nvPr>
        </p:nvSpPr>
        <p:spPr>
          <a:xfrm>
            <a:off x="3028951" y="6356353"/>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endParaRPr lang="en-US">
              <a:solidFill>
                <a:srgbClr val="141414">
                  <a:tint val="75000"/>
                </a:srgbClr>
              </a:solidFill>
            </a:endParaRPr>
          </a:p>
        </p:txBody>
      </p:sp>
      <p:sp>
        <p:nvSpPr>
          <p:cNvPr id="13" name="Shape 4"/>
          <p:cNvSpPr/>
          <p:nvPr userDrawn="1"/>
        </p:nvSpPr>
        <p:spPr>
          <a:xfrm>
            <a:off x="-1" y="-1"/>
            <a:ext cx="9144001" cy="1346201"/>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8650" y="183399"/>
            <a:ext cx="979402" cy="979402"/>
          </a:xfrm>
          <a:prstGeom prst="rect">
            <a:avLst/>
          </a:prstGeom>
        </p:spPr>
      </p:pic>
      <p:sp>
        <p:nvSpPr>
          <p:cNvPr id="16" name="Title Placeholder 15"/>
          <p:cNvSpPr>
            <a:spLocks noGrp="1"/>
          </p:cNvSpPr>
          <p:nvPr>
            <p:ph type="title" hasCustomPrompt="1"/>
          </p:nvPr>
        </p:nvSpPr>
        <p:spPr>
          <a:xfrm>
            <a:off x="1673400" y="186101"/>
            <a:ext cx="6839712" cy="541575"/>
          </a:xfrm>
          <a:prstGeom prst="rect">
            <a:avLst/>
          </a:prstGeom>
          <a:ln>
            <a:noFill/>
          </a:ln>
        </p:spPr>
        <p:txBody>
          <a:bodyPr vert="horz" lIns="91430" tIns="45716" rIns="91430" bIns="45716" rtlCol="0" anchor="ctr">
            <a:normAutofit/>
          </a:bodyPr>
          <a:lstStyle/>
          <a:p>
            <a:r>
              <a:rPr lang="en-US"/>
              <a:t>Click to add title</a:t>
            </a:r>
          </a:p>
        </p:txBody>
      </p:sp>
      <p:sp>
        <p:nvSpPr>
          <p:cNvPr id="19" name="Content Placeholder 18"/>
          <p:cNvSpPr>
            <a:spLocks noGrp="1"/>
          </p:cNvSpPr>
          <p:nvPr>
            <p:ph sz="quarter" idx="10" hasCustomPrompt="1"/>
          </p:nvPr>
        </p:nvSpPr>
        <p:spPr>
          <a:xfrm>
            <a:off x="1703072" y="721709"/>
            <a:ext cx="6812280" cy="585216"/>
          </a:xfrm>
          <a:noFill/>
        </p:spPr>
        <p:txBody>
          <a:bodyPr>
            <a:normAutofit/>
          </a:bodyPr>
          <a:lstStyle>
            <a:lvl1pPr marL="228576" marR="0" indent="-228576" algn="l" defTabSz="914303" rtl="0" eaLnBrk="1" fontAlgn="auto" latinLnBrk="0" hangingPunct="1">
              <a:lnSpc>
                <a:spcPct val="90000"/>
              </a:lnSpc>
              <a:spcBef>
                <a:spcPts val="1000"/>
              </a:spcBef>
              <a:spcAft>
                <a:spcPts val="0"/>
              </a:spcAft>
              <a:buClr>
                <a:schemeClr val="accent1"/>
              </a:buClr>
              <a:buSzTx/>
              <a:buNone/>
              <a:tabLst/>
              <a:defRPr sz="1600" baseline="0">
                <a:solidFill>
                  <a:schemeClr val="bg1"/>
                </a:solidFill>
                <a:latin typeface="+mn-lt"/>
              </a:defRPr>
            </a:lvl1pPr>
          </a:lstStyle>
          <a:p>
            <a:pPr marL="228576" marR="0" lvl="0" indent="-228576" algn="l" defTabSz="914303" rtl="0" eaLnBrk="1" fontAlgn="auto" latinLnBrk="0" hangingPunct="1">
              <a:lnSpc>
                <a:spcPct val="90000"/>
              </a:lnSpc>
              <a:spcBef>
                <a:spcPts val="1000"/>
              </a:spcBef>
              <a:spcAft>
                <a:spcPts val="0"/>
              </a:spcAft>
              <a:buClr>
                <a:schemeClr val="accent1"/>
              </a:buClr>
              <a:buSzTx/>
              <a:tabLst/>
              <a:defRPr/>
            </a:pPr>
            <a:r>
              <a:rPr lang="en-US"/>
              <a:t>Click to add subtitle</a:t>
            </a:r>
          </a:p>
        </p:txBody>
      </p:sp>
      <p:cxnSp>
        <p:nvCxnSpPr>
          <p:cNvPr id="21" name="Straight Connector 20"/>
          <p:cNvCxnSpPr/>
          <p:nvPr userDrawn="1"/>
        </p:nvCxnSpPr>
        <p:spPr>
          <a:xfrm flipV="1">
            <a:off x="628650" y="6538910"/>
            <a:ext cx="6699250" cy="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r>
              <a:rPr lang="en-US">
                <a:solidFill>
                  <a:srgbClr val="14558F"/>
                </a:solidFill>
              </a:rPr>
              <a:t>EOTSS  |  </a:t>
            </a:r>
            <a:fld id="{ADB5EE19-2DDD-0949-9666-AAFFBAB67E53}" type="slidenum">
              <a:rPr lang="en-US" smtClean="0">
                <a:solidFill>
                  <a:srgbClr val="14558F"/>
                </a:solidFill>
              </a:rPr>
              <a:pPr/>
              <a:t>‹#›</a:t>
            </a:fld>
            <a:endParaRPr lang="en-US">
              <a:solidFill>
                <a:srgbClr val="14558F"/>
              </a:solidFill>
            </a:endParaRPr>
          </a:p>
        </p:txBody>
      </p:sp>
      <p:sp>
        <p:nvSpPr>
          <p:cNvPr id="14" name="Shape 2"/>
          <p:cNvSpPr/>
          <p:nvPr userDrawn="1"/>
        </p:nvSpPr>
        <p:spPr>
          <a:xfrm>
            <a:off x="-4" y="1465072"/>
            <a:ext cx="9144001" cy="54864"/>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7" name="Shape 3"/>
          <p:cNvSpPr/>
          <p:nvPr userDrawn="1"/>
        </p:nvSpPr>
        <p:spPr>
          <a:xfrm>
            <a:off x="-3" y="1346200"/>
            <a:ext cx="9144001" cy="118872"/>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Tree>
    <p:extLst>
      <p:ext uri="{BB962C8B-B14F-4D97-AF65-F5344CB8AC3E}">
        <p14:creationId xmlns:p14="http://schemas.microsoft.com/office/powerpoint/2010/main" val="40975520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5" name="image4.jpeg"/>
          <p:cNvPicPr>
            <a:picLocks noChangeAspect="1"/>
          </p:cNvPicPr>
          <p:nvPr userDrawn="1"/>
        </p:nvPicPr>
        <p:blipFill rotWithShape="1">
          <a:blip r:embed="rId2" cstate="print">
            <a:extLst>
              <a:ext uri="{28A0092B-C50C-407E-A947-70E740481C1C}">
                <a14:useLocalDpi xmlns:a14="http://schemas.microsoft.com/office/drawing/2010/main" val="0"/>
              </a:ext>
            </a:extLst>
          </a:blip>
          <a:srcRect t="2716" r="8386" b="13456"/>
          <a:stretch/>
        </p:blipFill>
        <p:spPr>
          <a:xfrm>
            <a:off x="0" y="3"/>
            <a:ext cx="9144000" cy="5577915"/>
          </a:xfrm>
          <a:prstGeom prst="rect">
            <a:avLst/>
          </a:prstGeom>
          <a:ln w="12700">
            <a:miter lim="400000"/>
          </a:ln>
        </p:spPr>
      </p:pic>
      <p:sp>
        <p:nvSpPr>
          <p:cNvPr id="21" name="Shape 99"/>
          <p:cNvSpPr/>
          <p:nvPr userDrawn="1"/>
        </p:nvSpPr>
        <p:spPr>
          <a:xfrm>
            <a:off x="0" y="-1"/>
            <a:ext cx="9144002" cy="5639554"/>
          </a:xfrm>
          <a:prstGeom prst="rect">
            <a:avLst/>
          </a:prstGeom>
          <a:solidFill>
            <a:srgbClr val="000000">
              <a:alpha val="56918"/>
            </a:srgbClr>
          </a:solidFill>
          <a:ln w="12700">
            <a:miter lim="400000"/>
          </a:ln>
        </p:spPr>
        <p:txBody>
          <a:bodyPr lIns="45714" tIns="45714" rIns="45714" bIns="45714" anchor="ctr"/>
          <a:lstStyle/>
          <a:p>
            <a:pPr fontAlgn="auto">
              <a:spcBef>
                <a:spcPts val="0"/>
              </a:spcBef>
              <a:spcAft>
                <a:spcPts val="0"/>
              </a:spcAft>
              <a:defRPr>
                <a:latin typeface="Verdana"/>
                <a:ea typeface="Verdana"/>
                <a:cs typeface="Verdana"/>
                <a:sym typeface="Verdana"/>
              </a:defRPr>
            </a:pPr>
            <a:endParaRPr>
              <a:solidFill>
                <a:srgbClr val="141414"/>
              </a:solidFill>
              <a:latin typeface="Verdana"/>
              <a:ea typeface="Verdana"/>
              <a:cs typeface="Verdana"/>
              <a:sym typeface="Verdana"/>
            </a:endParaRPr>
          </a:p>
        </p:txBody>
      </p:sp>
      <p:sp>
        <p:nvSpPr>
          <p:cNvPr id="7" name="Shape 19"/>
          <p:cNvSpPr>
            <a:spLocks noGrp="1"/>
          </p:cNvSpPr>
          <p:nvPr>
            <p:ph type="body" sz="half" idx="20" hasCustomPrompt="1"/>
          </p:nvPr>
        </p:nvSpPr>
        <p:spPr>
          <a:xfrm>
            <a:off x="1532861" y="468569"/>
            <a:ext cx="6078281" cy="468433"/>
          </a:xfrm>
          <a:prstGeom prst="rect">
            <a:avLst/>
          </a:prstGeom>
          <a:noFill/>
          <a:ln>
            <a:noFill/>
          </a:ln>
        </p:spPr>
        <p:txBody>
          <a:bodyPr anchor="t">
            <a:normAutofit/>
          </a:bodyPr>
          <a:lstStyle>
            <a:lvl1pPr marL="0" indent="0" algn="ctr">
              <a:buClrTx/>
              <a:buSzTx/>
              <a:buFontTx/>
              <a:buNone/>
              <a:defRPr sz="1400" b="1" baseline="0">
                <a:solidFill>
                  <a:srgbClr val="FF0000"/>
                </a:solidFill>
              </a:defRPr>
            </a:lvl1pPr>
          </a:lstStyle>
          <a:p>
            <a:r>
              <a:rPr lang="en-US"/>
              <a:t>DRAFT</a:t>
            </a:r>
            <a:endParaRPr/>
          </a:p>
        </p:txBody>
      </p:sp>
      <p:sp>
        <p:nvSpPr>
          <p:cNvPr id="6" name="TextBox 5"/>
          <p:cNvSpPr txBox="1"/>
          <p:nvPr userDrawn="1"/>
        </p:nvSpPr>
        <p:spPr>
          <a:xfrm>
            <a:off x="7061105" y="365128"/>
            <a:ext cx="1435939" cy="249339"/>
          </a:xfrm>
          <a:prstGeom prst="rect">
            <a:avLst/>
          </a:prstGeom>
          <a:noFill/>
        </p:spPr>
        <p:txBody>
          <a:bodyPr wrap="none" lIns="91430" tIns="45716" rIns="91430" bIns="45716" rtlCol="0">
            <a:spAutoFit/>
          </a:bodyPr>
          <a:lstStyle/>
          <a:p>
            <a:pPr fontAlgn="auto">
              <a:spcBef>
                <a:spcPts val="0"/>
              </a:spcBef>
              <a:spcAft>
                <a:spcPts val="0"/>
              </a:spcAft>
            </a:pPr>
            <a:r>
              <a:rPr lang="en-US" sz="1000" kern="1000">
                <a:solidFill>
                  <a:srgbClr val="F2F2F2"/>
                </a:solidFill>
                <a:latin typeface="Arial"/>
              </a:rPr>
              <a:t>Private &amp; Confidential</a:t>
            </a:r>
          </a:p>
        </p:txBody>
      </p:sp>
      <p:sp>
        <p:nvSpPr>
          <p:cNvPr id="3" name="Title 2"/>
          <p:cNvSpPr>
            <a:spLocks noGrp="1"/>
          </p:cNvSpPr>
          <p:nvPr>
            <p:ph type="title" hasCustomPrompt="1"/>
          </p:nvPr>
        </p:nvSpPr>
        <p:spPr>
          <a:xfrm>
            <a:off x="1143000" y="976473"/>
            <a:ext cx="6858001" cy="2537119"/>
          </a:xfrm>
        </p:spPr>
        <p:txBody>
          <a:bodyPr anchor="b">
            <a:normAutofit/>
          </a:bodyPr>
          <a:lstStyle>
            <a:lvl1pPr>
              <a:defRPr sz="3600">
                <a:solidFill>
                  <a:schemeClr val="bg1"/>
                </a:solidFill>
              </a:defRPr>
            </a:lvl1pPr>
          </a:lstStyle>
          <a:p>
            <a:r>
              <a:rPr lang="en-US"/>
              <a:t>Click to add title</a:t>
            </a:r>
          </a:p>
        </p:txBody>
      </p:sp>
      <p:sp>
        <p:nvSpPr>
          <p:cNvPr id="12" name="Subtitle 2"/>
          <p:cNvSpPr>
            <a:spLocks noGrp="1"/>
          </p:cNvSpPr>
          <p:nvPr>
            <p:ph type="subTitle" idx="1" hasCustomPrompt="1"/>
          </p:nvPr>
        </p:nvSpPr>
        <p:spPr>
          <a:xfrm>
            <a:off x="1143001" y="3602039"/>
            <a:ext cx="6858001" cy="646834"/>
          </a:xfrm>
          <a:noFill/>
        </p:spPr>
        <p:txBody>
          <a:bodyPr>
            <a:normAutofit/>
          </a:bodyPr>
          <a:lstStyle>
            <a:lvl1pPr marL="0" indent="0" algn="l">
              <a:buNone/>
              <a:defRPr sz="2400" baseline="0">
                <a:solidFill>
                  <a:schemeClr val="bg1"/>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a:t>Click to add subtitle</a:t>
            </a:r>
          </a:p>
        </p:txBody>
      </p:sp>
      <p:sp>
        <p:nvSpPr>
          <p:cNvPr id="16" name="Shape 32"/>
          <p:cNvSpPr/>
          <p:nvPr userDrawn="1"/>
        </p:nvSpPr>
        <p:spPr>
          <a:xfrm>
            <a:off x="4" y="5488104"/>
            <a:ext cx="9144001" cy="360501"/>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7" name="Shape 33"/>
          <p:cNvSpPr/>
          <p:nvPr userDrawn="1"/>
        </p:nvSpPr>
        <p:spPr>
          <a:xfrm>
            <a:off x="2" y="5542155"/>
            <a:ext cx="9144001" cy="400254"/>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a:solidFill>
                <a:srgbClr val="F2F2F2"/>
              </a:solidFill>
            </a:endParaRPr>
          </a:p>
        </p:txBody>
      </p:sp>
      <p:sp>
        <p:nvSpPr>
          <p:cNvPr id="20" name="Shape 17"/>
          <p:cNvSpPr/>
          <p:nvPr userDrawn="1"/>
        </p:nvSpPr>
        <p:spPr>
          <a:xfrm>
            <a:off x="1541721" y="5933090"/>
            <a:ext cx="6903033" cy="544901"/>
          </a:xfrm>
          <a:prstGeom prst="rect">
            <a:avLst/>
          </a:prstGeom>
          <a:ln w="12700">
            <a:miter lim="400000"/>
          </a:ln>
          <a:extLst>
            <a:ext uri="{C572A759-6A51-4108-AA02-DFA0A04FC94B}">
              <ma14:wrappingTextBoxFlag xmlns="" xmlns:ma14="http://schemas.microsoft.com/office/mac/drawingml/2011/main"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a:solidFill>
                  <a:srgbClr val="F2F2F2"/>
                </a:solidFill>
                <a:latin typeface="Arial"/>
              </a:rPr>
              <a:t>Executive Office of Technology Services and Security </a:t>
            </a:r>
            <a:r>
              <a:rPr lang="en-US" sz="1000" b="1">
                <a:solidFill>
                  <a:srgbClr val="F2F2F2"/>
                </a:solidFill>
                <a:latin typeface="Arial"/>
              </a:rPr>
              <a:t>(</a:t>
            </a:r>
            <a:r>
              <a:rPr sz="1000" b="1">
                <a:solidFill>
                  <a:srgbClr val="F2F2F2"/>
                </a:solidFill>
                <a:latin typeface="Arial"/>
              </a:rPr>
              <a:t>EOTSS</a:t>
            </a:r>
            <a:r>
              <a:rPr lang="en-US" sz="1000" b="1">
                <a:solidFill>
                  <a:srgbClr val="F2F2F2"/>
                </a:solidFill>
                <a:latin typeface="Arial"/>
              </a:rPr>
              <a:t>)</a:t>
            </a:r>
            <a:endParaRPr sz="1000" b="1">
              <a:solidFill>
                <a:srgbClr val="F2F2F2"/>
              </a:solidFill>
              <a:latin typeface="Arial"/>
            </a:endParaRPr>
          </a:p>
          <a:p>
            <a:pPr fontAlgn="auto">
              <a:spcBef>
                <a:spcPts val="0"/>
              </a:spcBef>
              <a:spcAft>
                <a:spcPts val="0"/>
              </a:spcAft>
              <a:defRPr sz="1000">
                <a:solidFill>
                  <a:srgbClr val="FFFFFF"/>
                </a:solidFill>
              </a:defRPr>
            </a:pPr>
            <a:r>
              <a:rPr lang="en-US" sz="1000">
                <a:solidFill>
                  <a:srgbClr val="F2F2F2"/>
                </a:solidFill>
                <a:latin typeface="Arial"/>
              </a:rPr>
              <a:t>EOTSS Mission: To provide secure and quality digital information, services, and tools to constituents and service providers when and where they need them.</a:t>
            </a:r>
          </a:p>
        </p:txBody>
      </p:sp>
      <p:sp>
        <p:nvSpPr>
          <p:cNvPr id="27" name="Shape 19"/>
          <p:cNvSpPr>
            <a:spLocks noGrp="1"/>
          </p:cNvSpPr>
          <p:nvPr>
            <p:ph type="body" sz="half" idx="19" hasCustomPrompt="1"/>
          </p:nvPr>
        </p:nvSpPr>
        <p:spPr>
          <a:xfrm>
            <a:off x="1143001" y="4295975"/>
            <a:ext cx="6857999" cy="403714"/>
          </a:xfrm>
          <a:prstGeom prst="rect">
            <a:avLst/>
          </a:prstGeom>
          <a:noFill/>
        </p:spPr>
        <p:txBody>
          <a:bodyPr anchor="b">
            <a:normAutofit/>
          </a:bodyPr>
          <a:lstStyle>
            <a:lvl1pPr marL="0" indent="0">
              <a:buClrTx/>
              <a:buSzTx/>
              <a:buFontTx/>
              <a:buNone/>
              <a:defRPr sz="1600" b="1" baseline="0">
                <a:solidFill>
                  <a:schemeClr val="bg1"/>
                </a:solidFill>
              </a:defRPr>
            </a:lvl1pPr>
          </a:lstStyle>
          <a:p>
            <a:r>
              <a:rPr lang="en-US"/>
              <a:t>Presenter’s name here</a:t>
            </a:r>
          </a:p>
        </p:txBody>
      </p:sp>
      <p:sp>
        <p:nvSpPr>
          <p:cNvPr id="28" name="Shape 19"/>
          <p:cNvSpPr>
            <a:spLocks noGrp="1"/>
          </p:cNvSpPr>
          <p:nvPr>
            <p:ph type="body" sz="half" idx="21" hasCustomPrompt="1"/>
          </p:nvPr>
        </p:nvSpPr>
        <p:spPr>
          <a:xfrm>
            <a:off x="1143001" y="4699689"/>
            <a:ext cx="6857998" cy="403714"/>
          </a:xfrm>
          <a:prstGeom prst="rect">
            <a:avLst/>
          </a:prstGeom>
          <a:noFill/>
        </p:spPr>
        <p:txBody>
          <a:bodyPr anchor="t">
            <a:normAutofit/>
          </a:bodyPr>
          <a:lstStyle>
            <a:lvl1pPr marL="0" indent="0">
              <a:buClrTx/>
              <a:buSzTx/>
              <a:buFontTx/>
              <a:buNone/>
              <a:defRPr sz="1400" b="0" baseline="0">
                <a:solidFill>
                  <a:schemeClr val="bg1"/>
                </a:solidFill>
              </a:defRPr>
            </a:lvl1pPr>
          </a:lstStyle>
          <a:p>
            <a:r>
              <a:rPr lang="en-US"/>
              <a:t>Presenter’s title her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224020079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23" name="image4.jpeg"/>
          <p:cNvPicPr>
            <a:picLocks noChangeAspect="1"/>
          </p:cNvPicPr>
          <p:nvPr userDrawn="1"/>
        </p:nvPicPr>
        <p:blipFill rotWithShape="1">
          <a:blip r:embed="rId2" cstate="print">
            <a:extLst>
              <a:ext uri="{28A0092B-C50C-407E-A947-70E740481C1C}">
                <a14:useLocalDpi xmlns:a14="http://schemas.microsoft.com/office/drawing/2010/main" val="0"/>
              </a:ext>
            </a:extLst>
          </a:blip>
          <a:srcRect l="6851" t="3084" r="3943"/>
          <a:stretch/>
        </p:blipFill>
        <p:spPr>
          <a:xfrm>
            <a:off x="-1" y="0"/>
            <a:ext cx="9144002" cy="5588000"/>
          </a:xfrm>
          <a:prstGeom prst="rect">
            <a:avLst/>
          </a:prstGeom>
          <a:ln w="12700">
            <a:miter lim="400000"/>
          </a:ln>
        </p:spPr>
      </p:pic>
      <p:sp>
        <p:nvSpPr>
          <p:cNvPr id="7" name="Shape 19"/>
          <p:cNvSpPr>
            <a:spLocks noGrp="1"/>
          </p:cNvSpPr>
          <p:nvPr>
            <p:ph type="body" sz="half" idx="20" hasCustomPrompt="1"/>
          </p:nvPr>
        </p:nvSpPr>
        <p:spPr>
          <a:xfrm>
            <a:off x="1532861" y="468569"/>
            <a:ext cx="6078281" cy="468433"/>
          </a:xfrm>
          <a:prstGeom prst="rect">
            <a:avLst/>
          </a:prstGeom>
          <a:noFill/>
          <a:ln>
            <a:noFill/>
          </a:ln>
        </p:spPr>
        <p:txBody>
          <a:bodyPr anchor="t">
            <a:normAutofit/>
          </a:bodyPr>
          <a:lstStyle>
            <a:lvl1pPr marL="0" indent="0" algn="ctr">
              <a:buClrTx/>
              <a:buSzTx/>
              <a:buFontTx/>
              <a:buNone/>
              <a:defRPr sz="1400" b="1" baseline="0">
                <a:solidFill>
                  <a:srgbClr val="FF0000"/>
                </a:solidFill>
              </a:defRPr>
            </a:lvl1pPr>
          </a:lstStyle>
          <a:p>
            <a:r>
              <a:rPr lang="en-US"/>
              <a:t>DRAFT</a:t>
            </a:r>
            <a:endParaRPr/>
          </a:p>
        </p:txBody>
      </p:sp>
      <p:sp>
        <p:nvSpPr>
          <p:cNvPr id="6" name="TextBox 5"/>
          <p:cNvSpPr txBox="1"/>
          <p:nvPr userDrawn="1"/>
        </p:nvSpPr>
        <p:spPr>
          <a:xfrm>
            <a:off x="7061105" y="365128"/>
            <a:ext cx="1435939" cy="249339"/>
          </a:xfrm>
          <a:prstGeom prst="rect">
            <a:avLst/>
          </a:prstGeom>
          <a:noFill/>
        </p:spPr>
        <p:txBody>
          <a:bodyPr wrap="none" lIns="91430" tIns="45716" rIns="91430" bIns="45716" rtlCol="0">
            <a:spAutoFit/>
          </a:bodyPr>
          <a:lstStyle/>
          <a:p>
            <a:pPr fontAlgn="auto">
              <a:spcBef>
                <a:spcPts val="0"/>
              </a:spcBef>
              <a:spcAft>
                <a:spcPts val="0"/>
              </a:spcAft>
            </a:pPr>
            <a:r>
              <a:rPr lang="en-US" sz="1000" kern="1000">
                <a:solidFill>
                  <a:srgbClr val="14558F"/>
                </a:solidFill>
                <a:latin typeface="Arial"/>
              </a:rPr>
              <a:t>Private &amp; Confidential</a:t>
            </a:r>
          </a:p>
        </p:txBody>
      </p:sp>
      <p:sp>
        <p:nvSpPr>
          <p:cNvPr id="3" name="Title 2"/>
          <p:cNvSpPr>
            <a:spLocks noGrp="1"/>
          </p:cNvSpPr>
          <p:nvPr>
            <p:ph type="title" hasCustomPrompt="1"/>
          </p:nvPr>
        </p:nvSpPr>
        <p:spPr>
          <a:xfrm>
            <a:off x="1143000" y="976473"/>
            <a:ext cx="6858001" cy="2537119"/>
          </a:xfrm>
        </p:spPr>
        <p:txBody>
          <a:bodyPr anchor="b">
            <a:normAutofit/>
          </a:bodyPr>
          <a:lstStyle>
            <a:lvl1pPr>
              <a:defRPr sz="3600">
                <a:solidFill>
                  <a:schemeClr val="accent1"/>
                </a:solidFill>
              </a:defRPr>
            </a:lvl1pPr>
          </a:lstStyle>
          <a:p>
            <a:r>
              <a:rPr lang="en-US"/>
              <a:t>Click to add title</a:t>
            </a:r>
          </a:p>
        </p:txBody>
      </p:sp>
      <p:sp>
        <p:nvSpPr>
          <p:cNvPr id="12" name="Subtitle 2"/>
          <p:cNvSpPr>
            <a:spLocks noGrp="1"/>
          </p:cNvSpPr>
          <p:nvPr>
            <p:ph type="subTitle" idx="1" hasCustomPrompt="1"/>
          </p:nvPr>
        </p:nvSpPr>
        <p:spPr>
          <a:xfrm>
            <a:off x="1143001" y="3602039"/>
            <a:ext cx="6858001" cy="646834"/>
          </a:xfrm>
          <a:noFill/>
        </p:spPr>
        <p:txBody>
          <a:bodyPr>
            <a:normAutofit/>
          </a:bodyPr>
          <a:lstStyle>
            <a:lvl1pPr marL="0" indent="0" algn="l">
              <a:buNone/>
              <a:defRPr sz="2400" baseline="0">
                <a:solidFill>
                  <a:schemeClr val="accent1"/>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a:t>Click to add subtitle</a:t>
            </a:r>
          </a:p>
        </p:txBody>
      </p:sp>
      <p:sp>
        <p:nvSpPr>
          <p:cNvPr id="16" name="Shape 32"/>
          <p:cNvSpPr/>
          <p:nvPr userDrawn="1"/>
        </p:nvSpPr>
        <p:spPr>
          <a:xfrm>
            <a:off x="4" y="5488104"/>
            <a:ext cx="9144001" cy="360501"/>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7" name="Shape 33"/>
          <p:cNvSpPr/>
          <p:nvPr userDrawn="1"/>
        </p:nvSpPr>
        <p:spPr>
          <a:xfrm>
            <a:off x="2" y="5542155"/>
            <a:ext cx="9144001" cy="400254"/>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a:solidFill>
                <a:srgbClr val="F2F2F2"/>
              </a:solidFill>
            </a:endParaRPr>
          </a:p>
        </p:txBody>
      </p:sp>
      <p:sp>
        <p:nvSpPr>
          <p:cNvPr id="20" name="Shape 17"/>
          <p:cNvSpPr/>
          <p:nvPr userDrawn="1"/>
        </p:nvSpPr>
        <p:spPr>
          <a:xfrm>
            <a:off x="1541721" y="5933090"/>
            <a:ext cx="6903033" cy="544901"/>
          </a:xfrm>
          <a:prstGeom prst="rect">
            <a:avLst/>
          </a:prstGeom>
          <a:ln w="12700">
            <a:miter lim="400000"/>
          </a:ln>
          <a:extLst>
            <a:ext uri="{C572A759-6A51-4108-AA02-DFA0A04FC94B}">
              <ma14:wrappingTextBoxFlag xmlns="" xmlns:ma14="http://schemas.microsoft.com/office/mac/drawingml/2011/main"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a:solidFill>
                  <a:srgbClr val="F2F2F2"/>
                </a:solidFill>
                <a:latin typeface="Arial"/>
              </a:rPr>
              <a:t>Executive Office of Technology Services and Security </a:t>
            </a:r>
            <a:r>
              <a:rPr lang="en-US" sz="1000" b="1">
                <a:solidFill>
                  <a:srgbClr val="F2F2F2"/>
                </a:solidFill>
                <a:latin typeface="Arial"/>
              </a:rPr>
              <a:t>(</a:t>
            </a:r>
            <a:r>
              <a:rPr sz="1000" b="1">
                <a:solidFill>
                  <a:srgbClr val="F2F2F2"/>
                </a:solidFill>
                <a:latin typeface="Arial"/>
              </a:rPr>
              <a:t>EOTSS</a:t>
            </a:r>
            <a:r>
              <a:rPr lang="en-US" sz="1000" b="1">
                <a:solidFill>
                  <a:srgbClr val="F2F2F2"/>
                </a:solidFill>
                <a:latin typeface="Arial"/>
              </a:rPr>
              <a:t>)</a:t>
            </a:r>
            <a:endParaRPr sz="1000" b="1">
              <a:solidFill>
                <a:srgbClr val="F2F2F2"/>
              </a:solidFill>
              <a:latin typeface="Arial"/>
            </a:endParaRPr>
          </a:p>
          <a:p>
            <a:pPr fontAlgn="auto">
              <a:spcBef>
                <a:spcPts val="0"/>
              </a:spcBef>
              <a:spcAft>
                <a:spcPts val="0"/>
              </a:spcAft>
              <a:defRPr sz="1000">
                <a:solidFill>
                  <a:srgbClr val="FFFFFF"/>
                </a:solidFill>
              </a:defRPr>
            </a:pPr>
            <a:r>
              <a:rPr lang="en-US" sz="1000">
                <a:solidFill>
                  <a:srgbClr val="F2F2F2"/>
                </a:solidFill>
                <a:latin typeface="Arial"/>
              </a:rPr>
              <a:t>EOTSS Mission: To provide secure and quality digital information, services, and tools to constituents and service providers when and where they need them.</a:t>
            </a:r>
          </a:p>
        </p:txBody>
      </p:sp>
      <p:sp>
        <p:nvSpPr>
          <p:cNvPr id="27" name="Shape 19"/>
          <p:cNvSpPr>
            <a:spLocks noGrp="1"/>
          </p:cNvSpPr>
          <p:nvPr>
            <p:ph type="body" sz="half" idx="19" hasCustomPrompt="1"/>
          </p:nvPr>
        </p:nvSpPr>
        <p:spPr>
          <a:xfrm>
            <a:off x="1143001" y="4295975"/>
            <a:ext cx="6857999" cy="403714"/>
          </a:xfrm>
          <a:prstGeom prst="rect">
            <a:avLst/>
          </a:prstGeom>
          <a:noFill/>
        </p:spPr>
        <p:txBody>
          <a:bodyPr anchor="b">
            <a:normAutofit/>
          </a:bodyPr>
          <a:lstStyle>
            <a:lvl1pPr marL="0" indent="0">
              <a:buClrTx/>
              <a:buSzTx/>
              <a:buFontTx/>
              <a:buNone/>
              <a:defRPr sz="1600" b="1" baseline="0">
                <a:solidFill>
                  <a:schemeClr val="accent1"/>
                </a:solidFill>
              </a:defRPr>
            </a:lvl1pPr>
          </a:lstStyle>
          <a:p>
            <a:r>
              <a:rPr lang="en-US"/>
              <a:t>Presenter’s name here</a:t>
            </a:r>
          </a:p>
        </p:txBody>
      </p:sp>
      <p:sp>
        <p:nvSpPr>
          <p:cNvPr id="28" name="Shape 19"/>
          <p:cNvSpPr>
            <a:spLocks noGrp="1"/>
          </p:cNvSpPr>
          <p:nvPr>
            <p:ph type="body" sz="half" idx="21" hasCustomPrompt="1"/>
          </p:nvPr>
        </p:nvSpPr>
        <p:spPr>
          <a:xfrm>
            <a:off x="1143001" y="4699689"/>
            <a:ext cx="6857998" cy="403714"/>
          </a:xfrm>
          <a:prstGeom prst="rect">
            <a:avLst/>
          </a:prstGeom>
          <a:noFill/>
        </p:spPr>
        <p:txBody>
          <a:bodyPr anchor="t">
            <a:normAutofit/>
          </a:bodyPr>
          <a:lstStyle>
            <a:lvl1pPr marL="0" indent="0">
              <a:buClrTx/>
              <a:buSzTx/>
              <a:buFontTx/>
              <a:buNone/>
              <a:defRPr sz="1400" b="0" baseline="0">
                <a:solidFill>
                  <a:schemeClr val="accent1"/>
                </a:solidFill>
              </a:defRPr>
            </a:lvl1pPr>
          </a:lstStyle>
          <a:p>
            <a:r>
              <a:rPr lang="en-US"/>
              <a:t>Presenter’s title her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466019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24" name="image4.jpeg"/>
          <p:cNvPicPr>
            <a:picLocks noChangeAspect="1"/>
          </p:cNvPicPr>
          <p:nvPr userDrawn="1"/>
        </p:nvPicPr>
        <p:blipFill>
          <a:blip r:embed="rId2"/>
          <a:srcRect l="431" t="1374" r="169" b="5827"/>
          <a:stretch>
            <a:fillRect/>
          </a:stretch>
        </p:blipFill>
        <p:spPr>
          <a:xfrm>
            <a:off x="0" y="-8934"/>
            <a:ext cx="9144002" cy="5712719"/>
          </a:xfrm>
          <a:prstGeom prst="rect">
            <a:avLst/>
          </a:prstGeom>
          <a:ln w="12700">
            <a:miter lim="400000"/>
          </a:ln>
        </p:spPr>
      </p:pic>
      <p:sp>
        <p:nvSpPr>
          <p:cNvPr id="21" name="Shape 99"/>
          <p:cNvSpPr/>
          <p:nvPr userDrawn="1"/>
        </p:nvSpPr>
        <p:spPr>
          <a:xfrm>
            <a:off x="3" y="-8934"/>
            <a:ext cx="9144001" cy="5558041"/>
          </a:xfrm>
          <a:prstGeom prst="rect">
            <a:avLst/>
          </a:prstGeom>
          <a:solidFill>
            <a:srgbClr val="000000">
              <a:alpha val="56918"/>
            </a:srgbClr>
          </a:solidFill>
          <a:ln w="12700">
            <a:miter lim="400000"/>
          </a:ln>
        </p:spPr>
        <p:txBody>
          <a:bodyPr lIns="45714" tIns="45714" rIns="45714" bIns="45714" anchor="ctr"/>
          <a:lstStyle/>
          <a:p>
            <a:pPr fontAlgn="auto">
              <a:spcBef>
                <a:spcPts val="0"/>
              </a:spcBef>
              <a:spcAft>
                <a:spcPts val="0"/>
              </a:spcAft>
              <a:defRPr>
                <a:latin typeface="Verdana"/>
                <a:ea typeface="Verdana"/>
                <a:cs typeface="Verdana"/>
                <a:sym typeface="Verdana"/>
              </a:defRPr>
            </a:pPr>
            <a:endParaRPr>
              <a:solidFill>
                <a:srgbClr val="141414"/>
              </a:solidFill>
              <a:latin typeface="Verdana"/>
              <a:ea typeface="Verdana"/>
              <a:cs typeface="Verdana"/>
              <a:sym typeface="Verdana"/>
            </a:endParaRPr>
          </a:p>
        </p:txBody>
      </p:sp>
      <p:sp>
        <p:nvSpPr>
          <p:cNvPr id="7" name="Shape 19"/>
          <p:cNvSpPr>
            <a:spLocks noGrp="1"/>
          </p:cNvSpPr>
          <p:nvPr>
            <p:ph type="body" sz="half" idx="20" hasCustomPrompt="1"/>
          </p:nvPr>
        </p:nvSpPr>
        <p:spPr>
          <a:xfrm>
            <a:off x="1532861" y="468569"/>
            <a:ext cx="6078281" cy="468433"/>
          </a:xfrm>
          <a:prstGeom prst="rect">
            <a:avLst/>
          </a:prstGeom>
          <a:noFill/>
          <a:ln>
            <a:noFill/>
          </a:ln>
        </p:spPr>
        <p:txBody>
          <a:bodyPr anchor="t">
            <a:normAutofit/>
          </a:bodyPr>
          <a:lstStyle>
            <a:lvl1pPr marL="0" indent="0" algn="ctr">
              <a:buClrTx/>
              <a:buSzTx/>
              <a:buFontTx/>
              <a:buNone/>
              <a:defRPr sz="1400" b="1" baseline="0">
                <a:solidFill>
                  <a:srgbClr val="FF0000"/>
                </a:solidFill>
              </a:defRPr>
            </a:lvl1pPr>
          </a:lstStyle>
          <a:p>
            <a:r>
              <a:rPr lang="en-US"/>
              <a:t>DRAFT</a:t>
            </a:r>
            <a:endParaRPr/>
          </a:p>
        </p:txBody>
      </p:sp>
      <p:sp>
        <p:nvSpPr>
          <p:cNvPr id="3" name="Title 2"/>
          <p:cNvSpPr>
            <a:spLocks noGrp="1"/>
          </p:cNvSpPr>
          <p:nvPr>
            <p:ph type="title" hasCustomPrompt="1"/>
          </p:nvPr>
        </p:nvSpPr>
        <p:spPr>
          <a:xfrm>
            <a:off x="1143000" y="976473"/>
            <a:ext cx="6858001" cy="2537119"/>
          </a:xfrm>
        </p:spPr>
        <p:txBody>
          <a:bodyPr anchor="b">
            <a:normAutofit/>
          </a:bodyPr>
          <a:lstStyle>
            <a:lvl1pPr>
              <a:defRPr sz="3600">
                <a:solidFill>
                  <a:schemeClr val="bg1"/>
                </a:solidFill>
              </a:defRPr>
            </a:lvl1pPr>
          </a:lstStyle>
          <a:p>
            <a:r>
              <a:rPr lang="en-US"/>
              <a:t>Click to add title</a:t>
            </a:r>
          </a:p>
        </p:txBody>
      </p:sp>
      <p:sp>
        <p:nvSpPr>
          <p:cNvPr id="12" name="Subtitle 2"/>
          <p:cNvSpPr>
            <a:spLocks noGrp="1"/>
          </p:cNvSpPr>
          <p:nvPr>
            <p:ph type="subTitle" idx="1" hasCustomPrompt="1"/>
          </p:nvPr>
        </p:nvSpPr>
        <p:spPr>
          <a:xfrm>
            <a:off x="1143001" y="3602039"/>
            <a:ext cx="6858001" cy="646834"/>
          </a:xfrm>
          <a:noFill/>
        </p:spPr>
        <p:txBody>
          <a:bodyPr>
            <a:normAutofit/>
          </a:bodyPr>
          <a:lstStyle>
            <a:lvl1pPr marL="0" indent="0" algn="l">
              <a:buNone/>
              <a:defRPr sz="2400" baseline="0">
                <a:solidFill>
                  <a:schemeClr val="bg1"/>
                </a:solidFill>
              </a:defRPr>
            </a:lvl1pPr>
            <a:lvl2pPr marL="457152" indent="0" algn="ctr">
              <a:buNone/>
              <a:defRPr sz="2000"/>
            </a:lvl2pPr>
            <a:lvl3pPr marL="914303" indent="0" algn="ctr">
              <a:buNone/>
              <a:defRPr sz="1800"/>
            </a:lvl3pPr>
            <a:lvl4pPr marL="1371455" indent="0" algn="ctr">
              <a:buNone/>
              <a:defRPr sz="1600"/>
            </a:lvl4pPr>
            <a:lvl5pPr marL="1828606" indent="0" algn="ctr">
              <a:buNone/>
              <a:defRPr sz="1600"/>
            </a:lvl5pPr>
            <a:lvl6pPr marL="2285758" indent="0" algn="ctr">
              <a:buNone/>
              <a:defRPr sz="1600"/>
            </a:lvl6pPr>
            <a:lvl7pPr marL="2742909" indent="0" algn="ctr">
              <a:buNone/>
              <a:defRPr sz="1600"/>
            </a:lvl7pPr>
            <a:lvl8pPr marL="3200061" indent="0" algn="ctr">
              <a:buNone/>
              <a:defRPr sz="1600"/>
            </a:lvl8pPr>
            <a:lvl9pPr marL="3657212" indent="0" algn="ctr">
              <a:buNone/>
              <a:defRPr sz="1600"/>
            </a:lvl9pPr>
          </a:lstStyle>
          <a:p>
            <a:r>
              <a:rPr lang="en-US"/>
              <a:t>Click to add subtitle</a:t>
            </a:r>
          </a:p>
        </p:txBody>
      </p:sp>
      <p:sp>
        <p:nvSpPr>
          <p:cNvPr id="16" name="Shape 32"/>
          <p:cNvSpPr/>
          <p:nvPr userDrawn="1"/>
        </p:nvSpPr>
        <p:spPr>
          <a:xfrm>
            <a:off x="4" y="5488104"/>
            <a:ext cx="9144001" cy="360501"/>
          </a:xfrm>
          <a:prstGeom prst="rect">
            <a:avLst/>
          </a:prstGeom>
          <a:solidFill>
            <a:srgbClr val="F9CE20"/>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7" name="Shape 33"/>
          <p:cNvSpPr/>
          <p:nvPr userDrawn="1"/>
        </p:nvSpPr>
        <p:spPr>
          <a:xfrm>
            <a:off x="2" y="5542155"/>
            <a:ext cx="9144001" cy="400254"/>
          </a:xfrm>
          <a:prstGeom prst="rect">
            <a:avLst/>
          </a:prstGeom>
          <a:solidFill>
            <a:srgbClr val="14558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8" name="Shape 34"/>
          <p:cNvSpPr/>
          <p:nvPr userDrawn="1"/>
        </p:nvSpPr>
        <p:spPr>
          <a:xfrm>
            <a:off x="3" y="5656520"/>
            <a:ext cx="9144001" cy="1201483"/>
          </a:xfrm>
          <a:prstGeom prst="rect">
            <a:avLst/>
          </a:prstGeom>
          <a:solidFill>
            <a:srgbClr val="43956F"/>
          </a:solidFill>
          <a:ln w="12700">
            <a:miter lim="400000"/>
          </a:ln>
        </p:spPr>
        <p:txBody>
          <a:bodyPr lIns="45714" tIns="45714" rIns="45714" bIns="45714" anchor="ctr"/>
          <a:lstStyle/>
          <a:p>
            <a:pPr algn="ctr" fontAlgn="auto">
              <a:spcBef>
                <a:spcPts val="0"/>
              </a:spcBef>
              <a:spcAft>
                <a:spcPts val="0"/>
              </a:spcAft>
              <a:defRPr>
                <a:solidFill>
                  <a:srgbClr val="FFFFFF"/>
                </a:solidFill>
                <a:latin typeface="Verdana"/>
                <a:ea typeface="Verdana"/>
                <a:cs typeface="Verdana"/>
                <a:sym typeface="Verdana"/>
              </a:defRPr>
            </a:pPr>
            <a:endParaRPr>
              <a:solidFill>
                <a:srgbClr val="FFFFFF"/>
              </a:solidFill>
              <a:latin typeface="Verdana"/>
              <a:ea typeface="Verdana"/>
              <a:cs typeface="Verdana"/>
              <a:sym typeface="Verdana"/>
            </a:endParaRPr>
          </a:p>
        </p:txBody>
      </p:sp>
      <p:sp>
        <p:nvSpPr>
          <p:cNvPr id="19" name="Slide Number Placeholder 5"/>
          <p:cNvSpPr txBox="1">
            <a:spLocks/>
          </p:cNvSpPr>
          <p:nvPr userDrawn="1"/>
        </p:nvSpPr>
        <p:spPr>
          <a:xfrm>
            <a:off x="8330626" y="6398544"/>
            <a:ext cx="184725" cy="280742"/>
          </a:xfrm>
          <a:prstGeom prst="rect">
            <a:avLst/>
          </a:prstGeom>
          <a:ln w="12700">
            <a:miter lim="400000"/>
          </a:ln>
        </p:spPr>
        <p:txBody>
          <a:bodyPr vert="horz" wrap="none" lIns="91430" tIns="45716" rIns="91430" bIns="45716" rtlCol="0"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914400" rtl="0" fontAlgn="auto" latinLnBrk="0" hangingPunct="0">
              <a:lnSpc>
                <a:spcPct val="100000"/>
              </a:lnSpc>
              <a:spcBef>
                <a:spcPts val="0"/>
              </a:spcBef>
              <a:spcAft>
                <a:spcPts val="0"/>
              </a:spcAft>
              <a:buClrTx/>
              <a:buSzTx/>
              <a:buFontTx/>
              <a:buNone/>
              <a:tabLst/>
              <a:defRPr kumimoji="0" sz="1200" b="0" i="0" u="none" strike="noStrike" cap="none" spc="0" normalizeH="0" baseline="0">
                <a:ln>
                  <a:noFill/>
                </a:ln>
                <a:solidFill>
                  <a:schemeClr val="tx1">
                    <a:tint val="75000"/>
                  </a:schemeClr>
                </a:solidFill>
                <a:effectLst/>
                <a:uFillTx/>
                <a:latin typeface="+mn-lt"/>
                <a:ea typeface="+mn-ea"/>
                <a:cs typeface="+mn-cs"/>
                <a:sym typeface="Arial"/>
              </a:defRPr>
            </a:lvl1pPr>
            <a:lvl2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2pPr>
            <a:lvl3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3pPr>
            <a:lvl4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4pPr>
            <a:lvl5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5pPr>
            <a:lvl6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6pPr>
            <a:lvl7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7pPr>
            <a:lvl8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8pPr>
            <a:lvl9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Arial"/>
              </a:defRPr>
            </a:lvl9pPr>
          </a:lstStyle>
          <a:p>
            <a:endParaRPr lang="en-US">
              <a:solidFill>
                <a:srgbClr val="F2F2F2"/>
              </a:solidFill>
            </a:endParaRPr>
          </a:p>
        </p:txBody>
      </p:sp>
      <p:sp>
        <p:nvSpPr>
          <p:cNvPr id="20" name="Shape 17"/>
          <p:cNvSpPr/>
          <p:nvPr userDrawn="1"/>
        </p:nvSpPr>
        <p:spPr>
          <a:xfrm>
            <a:off x="1541721" y="5933924"/>
            <a:ext cx="6903033" cy="543226"/>
          </a:xfrm>
          <a:prstGeom prst="rect">
            <a:avLst/>
          </a:prstGeom>
          <a:ln w="12700">
            <a:miter lim="400000"/>
          </a:ln>
          <a:extLst>
            <a:ext uri="{C572A759-6A51-4108-AA02-DFA0A04FC94B}">
              <ma14:wrappingTextBoxFlag xmlns="" xmlns:ma14="http://schemas.microsoft.com/office/mac/drawingml/2011/main" val="1"/>
            </a:ext>
          </a:extLst>
        </p:spPr>
        <p:txBody>
          <a:bodyPr lIns="36572" tIns="36572" rIns="36572" bIns="36572" anchor="ctr">
            <a:spAutoFit/>
          </a:bodyPr>
          <a:lstStyle/>
          <a:p>
            <a:pPr fontAlgn="auto">
              <a:spcBef>
                <a:spcPts val="0"/>
              </a:spcBef>
              <a:spcAft>
                <a:spcPts val="0"/>
              </a:spcAft>
              <a:defRPr sz="1000" b="1">
                <a:solidFill>
                  <a:srgbClr val="FFFFFF"/>
                </a:solidFill>
              </a:defRPr>
            </a:pPr>
            <a:r>
              <a:rPr sz="1000" b="1">
                <a:solidFill>
                  <a:srgbClr val="F2F2F2"/>
                </a:solidFill>
                <a:latin typeface="Arial"/>
              </a:rPr>
              <a:t>Executive Office of Technology Services and Security </a:t>
            </a:r>
            <a:r>
              <a:rPr lang="en-US" sz="1000" b="1">
                <a:solidFill>
                  <a:srgbClr val="F2F2F2"/>
                </a:solidFill>
                <a:latin typeface="Arial"/>
              </a:rPr>
              <a:t>(</a:t>
            </a:r>
            <a:r>
              <a:rPr sz="1000" b="1">
                <a:solidFill>
                  <a:srgbClr val="F2F2F2"/>
                </a:solidFill>
                <a:latin typeface="Arial"/>
              </a:rPr>
              <a:t>EOTSS</a:t>
            </a:r>
            <a:r>
              <a:rPr lang="en-US" sz="1000" b="1">
                <a:solidFill>
                  <a:srgbClr val="F2F2F2"/>
                </a:solidFill>
                <a:latin typeface="Arial"/>
              </a:rPr>
              <a:t>)</a:t>
            </a:r>
            <a:endParaRPr sz="1000" b="1">
              <a:solidFill>
                <a:srgbClr val="F2F2F2"/>
              </a:solidFill>
              <a:latin typeface="Arial"/>
            </a:endParaRPr>
          </a:p>
          <a:p>
            <a:pPr fontAlgn="auto">
              <a:spcBef>
                <a:spcPts val="0"/>
              </a:spcBef>
              <a:spcAft>
                <a:spcPts val="0"/>
              </a:spcAft>
              <a:defRPr sz="1000">
                <a:solidFill>
                  <a:srgbClr val="FFFFFF"/>
                </a:solidFill>
              </a:defRPr>
            </a:pPr>
            <a:r>
              <a:rPr lang="en-US" sz="1000" i="1">
                <a:solidFill>
                  <a:srgbClr val="F2F2F2"/>
                </a:solidFill>
                <a:latin typeface="Arial"/>
              </a:rPr>
              <a:t>EOTSS Mission: To provide secure and quality digital information, services, and tools to constituents and service providers when and where they need them.</a:t>
            </a:r>
          </a:p>
        </p:txBody>
      </p:sp>
      <p:sp>
        <p:nvSpPr>
          <p:cNvPr id="27" name="Shape 19"/>
          <p:cNvSpPr>
            <a:spLocks noGrp="1"/>
          </p:cNvSpPr>
          <p:nvPr>
            <p:ph type="body" sz="half" idx="19" hasCustomPrompt="1"/>
          </p:nvPr>
        </p:nvSpPr>
        <p:spPr>
          <a:xfrm>
            <a:off x="1143001" y="4295975"/>
            <a:ext cx="6857999" cy="403714"/>
          </a:xfrm>
          <a:prstGeom prst="rect">
            <a:avLst/>
          </a:prstGeom>
          <a:noFill/>
        </p:spPr>
        <p:txBody>
          <a:bodyPr anchor="b">
            <a:normAutofit/>
          </a:bodyPr>
          <a:lstStyle>
            <a:lvl1pPr marL="0" indent="0">
              <a:buClrTx/>
              <a:buSzTx/>
              <a:buFontTx/>
              <a:buNone/>
              <a:defRPr sz="1600" b="1" baseline="0">
                <a:solidFill>
                  <a:schemeClr val="bg1"/>
                </a:solidFill>
              </a:defRPr>
            </a:lvl1pPr>
          </a:lstStyle>
          <a:p>
            <a:r>
              <a:rPr lang="en-US"/>
              <a:t>Presenter’s name here</a:t>
            </a:r>
          </a:p>
        </p:txBody>
      </p:sp>
      <p:sp>
        <p:nvSpPr>
          <p:cNvPr id="28" name="Shape 19"/>
          <p:cNvSpPr>
            <a:spLocks noGrp="1"/>
          </p:cNvSpPr>
          <p:nvPr>
            <p:ph type="body" sz="half" idx="21" hasCustomPrompt="1"/>
          </p:nvPr>
        </p:nvSpPr>
        <p:spPr>
          <a:xfrm>
            <a:off x="1143001" y="4699689"/>
            <a:ext cx="6857998" cy="403714"/>
          </a:xfrm>
          <a:prstGeom prst="rect">
            <a:avLst/>
          </a:prstGeom>
          <a:noFill/>
        </p:spPr>
        <p:txBody>
          <a:bodyPr anchor="t">
            <a:normAutofit/>
          </a:bodyPr>
          <a:lstStyle>
            <a:lvl1pPr marL="0" indent="0">
              <a:buClrTx/>
              <a:buSzTx/>
              <a:buFontTx/>
              <a:buNone/>
              <a:defRPr sz="1400" b="0" baseline="0">
                <a:solidFill>
                  <a:schemeClr val="bg1"/>
                </a:solidFill>
              </a:defRPr>
            </a:lvl1pPr>
          </a:lstStyle>
          <a:p>
            <a:r>
              <a:rPr lang="en-US"/>
              <a:t>Presenter’s title here</a:t>
            </a:r>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367" y="5767558"/>
            <a:ext cx="979402" cy="979402"/>
          </a:xfrm>
          <a:prstGeom prst="rect">
            <a:avLst/>
          </a:prstGeom>
        </p:spPr>
      </p:pic>
    </p:spTree>
    <p:extLst>
      <p:ext uri="{BB962C8B-B14F-4D97-AF65-F5344CB8AC3E}">
        <p14:creationId xmlns:p14="http://schemas.microsoft.com/office/powerpoint/2010/main" val="13775306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a:solidFill>
                <a:srgbClr val="000000"/>
              </a:solidFill>
            </a:endParaRPr>
          </a:p>
        </p:txBody>
      </p:sp>
      <p:sp>
        <p:nvSpPr>
          <p:cNvPr id="105483" name="Line 11"/>
          <p:cNvSpPr>
            <a:spLocks noChangeShapeType="1"/>
          </p:cNvSpPr>
          <p:nvPr/>
        </p:nvSpPr>
        <p:spPr bwMode="auto">
          <a:xfrm>
            <a:off x="2443164"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a:solidFill>
                <a:srgbClr val="000000"/>
              </a:solidFill>
            </a:endParaRPr>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lIns="91430" tIns="45716" rIns="91430" bIns="45716" anchor="ctr"/>
          <a:lstStyle>
            <a:lvl1pPr>
              <a:lnSpc>
                <a:spcPct val="100000"/>
              </a:lnSpc>
              <a:spcAft>
                <a:spcPts val="612"/>
              </a:spcAft>
              <a:defRPr/>
            </a:lvl1pP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
        <p:nvSpPr>
          <p:cNvPr id="7" name="TextBox 6"/>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a:solidFill>
                  <a:srgbClr val="000000"/>
                </a:solidFill>
              </a:rPr>
              <a:t>Draft: For Policy Development Purposes</a:t>
            </a:r>
          </a:p>
        </p:txBody>
      </p:sp>
    </p:spTree>
    <p:extLst>
      <p:ext uri="{BB962C8B-B14F-4D97-AF65-F5344CB8AC3E}">
        <p14:creationId xmlns:p14="http://schemas.microsoft.com/office/powerpoint/2010/main" val="25026469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1"/>
          <p:cNvSpPr>
            <a:spLocks noGrp="1"/>
          </p:cNvSpPr>
          <p:nvPr>
            <p:ph type="title"/>
          </p:nvPr>
        </p:nvSpPr>
        <p:spPr>
          <a:xfrm>
            <a:off x="462686" y="885687"/>
            <a:ext cx="7751547" cy="374495"/>
          </a:xfrm>
          <a:prstGeom prst="rect">
            <a:avLst/>
          </a:prstGeom>
        </p:spPr>
        <p:txBody>
          <a:bodyPr lIns="91430" tIns="45716" rIns="91430" bIns="45716"/>
          <a:lstStyle>
            <a:lvl1pPr>
              <a:lnSpc>
                <a:spcPct val="100000"/>
              </a:lnSpc>
              <a:defRPr sz="1600" b="1">
                <a:solidFill>
                  <a:srgbClr val="00269E"/>
                </a:solidFill>
                <a:latin typeface="Arial" pitchFamily="34" charset="0"/>
                <a:cs typeface="Arial" pitchFamily="34" charset="0"/>
              </a:defRPr>
            </a:lvl1pPr>
          </a:lstStyle>
          <a:p>
            <a:endParaRPr lang="en-US"/>
          </a:p>
        </p:txBody>
      </p:sp>
    </p:spTree>
    <p:extLst>
      <p:ext uri="{BB962C8B-B14F-4D97-AF65-F5344CB8AC3E}">
        <p14:creationId xmlns:p14="http://schemas.microsoft.com/office/powerpoint/2010/main" val="35777307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2" y="1660859"/>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2" y="1695148"/>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1"/>
          <p:cNvSpPr>
            <a:spLocks noGrp="1"/>
          </p:cNvSpPr>
          <p:nvPr>
            <p:ph type="title"/>
          </p:nvPr>
        </p:nvSpPr>
        <p:spPr>
          <a:xfrm>
            <a:off x="462686" y="885687"/>
            <a:ext cx="7751547" cy="374495"/>
          </a:xfrm>
          <a:prstGeom prst="rect">
            <a:avLst/>
          </a:prstGeom>
        </p:spPr>
        <p:txBody>
          <a:bodyPr lIns="91430" tIns="45716" rIns="91430" bIns="45716"/>
          <a:lstStyle>
            <a:lvl1pPr>
              <a:lnSpc>
                <a:spcPct val="100000"/>
              </a:lnSpc>
              <a:defRPr sz="1600" b="1">
                <a:solidFill>
                  <a:srgbClr val="00269E"/>
                </a:solidFill>
                <a:latin typeface="Arial" pitchFamily="34" charset="0"/>
                <a:cs typeface="Arial" pitchFamily="34" charset="0"/>
              </a:defRPr>
            </a:lvl1pPr>
          </a:lstStyle>
          <a:p>
            <a:endParaRPr lang="en-US"/>
          </a:p>
        </p:txBody>
      </p:sp>
    </p:spTree>
    <p:extLst>
      <p:ext uri="{BB962C8B-B14F-4D97-AF65-F5344CB8AC3E}">
        <p14:creationId xmlns:p14="http://schemas.microsoft.com/office/powerpoint/2010/main" val="28179097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userDrawn="1"/>
        </p:nvSpPr>
        <p:spPr>
          <a:xfrm>
            <a:off x="396241" y="1317044"/>
            <a:ext cx="843534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a:solidFill>
                <a:srgbClr val="FFFFFF"/>
              </a:solidFill>
            </a:endParaRPr>
          </a:p>
        </p:txBody>
      </p:sp>
      <p:sp>
        <p:nvSpPr>
          <p:cNvPr id="11" name="Rectangle 10"/>
          <p:cNvSpPr/>
          <p:nvPr userDrawn="1"/>
        </p:nvSpPr>
        <p:spPr>
          <a:xfrm>
            <a:off x="327660" y="624840"/>
            <a:ext cx="7673340" cy="236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a:solidFill>
                <a:srgbClr val="FFFFFF"/>
              </a:solidFill>
            </a:endParaRPr>
          </a:p>
        </p:txBody>
      </p:sp>
    </p:spTree>
    <p:extLst>
      <p:ext uri="{BB962C8B-B14F-4D97-AF65-F5344CB8AC3E}">
        <p14:creationId xmlns:p14="http://schemas.microsoft.com/office/powerpoint/2010/main" val="27996157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ouble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Content Placeholder 8"/>
          <p:cNvSpPr>
            <a:spLocks noGrp="1"/>
          </p:cNvSpPr>
          <p:nvPr>
            <p:ph sz="quarter" idx="18"/>
          </p:nvPr>
        </p:nvSpPr>
        <p:spPr>
          <a:xfrm>
            <a:off x="4648301" y="1290463"/>
            <a:ext cx="4251960" cy="5029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8733291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9"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071" eaLnBrk="0" hangingPunct="0"/>
              <a:r>
                <a:rPr lang="en-US" sz="800">
                  <a:solidFill>
                    <a:srgbClr val="000000"/>
                  </a:solidFill>
                  <a:latin typeface="Arial"/>
                </a:rPr>
                <a:t>CONFIDENTIAL AND PROPRIETARY</a:t>
              </a:r>
            </a:p>
            <a:p>
              <a:pPr defTabSz="820071" eaLnBrk="0" hangingPunct="0"/>
              <a:r>
                <a:rPr lang="en-US" sz="800">
                  <a:solidFill>
                    <a:srgbClr val="000000"/>
                  </a:solidFill>
                  <a:latin typeface="Arial"/>
                </a:rPr>
                <a:t>Any use of this material without specific permission is strictly prohibited</a:t>
              </a:r>
            </a:p>
          </p:txBody>
        </p:sp>
      </p:grpSp>
      <p:sp>
        <p:nvSpPr>
          <p:cNvPr id="13315" name="Rectangle 1027"/>
          <p:cNvSpPr>
            <a:spLocks noGrp="1" noChangeArrowheads="1"/>
          </p:cNvSpPr>
          <p:nvPr>
            <p:ph type="subTitle" idx="1"/>
          </p:nvPr>
        </p:nvSpPr>
        <p:spPr bwMode="auto">
          <a:xfrm>
            <a:off x="2693809"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8672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92841911"/>
              </p:ext>
            </p:ext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2" y="1622"/>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a:xfrm>
            <a:off x="121503" y="234864"/>
            <a:ext cx="8794113" cy="314028"/>
          </a:xfrm>
        </p:spPr>
        <p:txBody>
          <a:bodyPr/>
          <a:lstStyle>
            <a:lvl1pPr>
              <a:defRPr sz="2000"/>
            </a:lvl1pPr>
          </a:lstStyle>
          <a:p>
            <a:r>
              <a:rPr lang="en-US"/>
              <a:t>Click to edit Master title style</a:t>
            </a:r>
          </a:p>
        </p:txBody>
      </p:sp>
    </p:spTree>
    <p:extLst>
      <p:ext uri="{BB962C8B-B14F-4D97-AF65-F5344CB8AC3E}">
        <p14:creationId xmlns:p14="http://schemas.microsoft.com/office/powerpoint/2010/main" val="18246351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25584832"/>
              </p:ext>
            </p:extLst>
          </p:nvPr>
        </p:nvGraphicFramePr>
        <p:xfrm>
          <a:off x="1590"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590"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152401" y="990609"/>
            <a:ext cx="8839200" cy="1915571"/>
          </a:xfrm>
        </p:spPr>
        <p:txBody>
          <a:bodyPr/>
          <a:lstStyle>
            <a:lvl1pPr>
              <a:defRPr sz="2700"/>
            </a:lvl1pPr>
            <a:lvl2pPr>
              <a:buClrTx/>
              <a:defRPr sz="2400">
                <a:solidFill>
                  <a:srgbClr val="000000"/>
                </a:solidFill>
              </a:defRPr>
            </a:lvl2pPr>
            <a:lvl3pPr>
              <a:buClrTx/>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81484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4" name="Rectangle 1027"/>
          <p:cNvSpPr>
            <a:spLocks noGrp="1" noChangeArrowheads="1"/>
          </p:cNvSpPr>
          <p:nvPr>
            <p:ph type="subTitle" idx="1"/>
          </p:nvPr>
        </p:nvSpPr>
        <p:spPr bwMode="auto">
          <a:xfrm>
            <a:off x="2693809" y="3615959"/>
            <a:ext cx="5407401" cy="219820"/>
          </a:xfrm>
          <a:prstGeom prst="rect">
            <a:avLst/>
          </a:prstGeom>
        </p:spPr>
        <p:txBody>
          <a:bodyPr anchor="ctr">
            <a:spAutoFit/>
          </a:bodyPr>
          <a:lstStyle>
            <a:lvl1pPr>
              <a:defRPr sz="1400" baseline="0">
                <a:latin typeface="+mj-lt"/>
                <a:ea typeface="+mj-ea"/>
              </a:defRPr>
            </a:lvl1pPr>
          </a:lstStyle>
          <a:p>
            <a:pPr lvl="0"/>
            <a:r>
              <a:rPr lang="en-US" noProof="0"/>
              <a:t>Click to edit Master subtitle style</a:t>
            </a:r>
          </a:p>
        </p:txBody>
      </p:sp>
      <p:sp>
        <p:nvSpPr>
          <p:cNvPr id="5" name="Rectangle 1026"/>
          <p:cNvSpPr>
            <a:spLocks noGrp="1" noChangeArrowheads="1"/>
          </p:cNvSpPr>
          <p:nvPr>
            <p:ph type="ctrTitle"/>
          </p:nvPr>
        </p:nvSpPr>
        <p:spPr bwMode="auto">
          <a:xfrm>
            <a:off x="2693809" y="1777968"/>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Tree>
    <p:extLst>
      <p:ext uri="{BB962C8B-B14F-4D97-AF65-F5344CB8AC3E}">
        <p14:creationId xmlns:p14="http://schemas.microsoft.com/office/powerpoint/2010/main" val="20456868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5479" name="Line 7"/>
          <p:cNvSpPr>
            <a:spLocks noChangeShapeType="1"/>
          </p:cNvSpPr>
          <p:nvPr/>
        </p:nvSpPr>
        <p:spPr bwMode="auto">
          <a:xfrm>
            <a:off x="0" y="747713"/>
            <a:ext cx="9144000" cy="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a:solidFill>
                <a:srgbClr val="000000"/>
              </a:solidFill>
            </a:endParaRPr>
          </a:p>
        </p:txBody>
      </p:sp>
      <p:sp>
        <p:nvSpPr>
          <p:cNvPr id="105483" name="Line 11"/>
          <p:cNvSpPr>
            <a:spLocks noChangeShapeType="1"/>
          </p:cNvSpPr>
          <p:nvPr/>
        </p:nvSpPr>
        <p:spPr bwMode="auto">
          <a:xfrm>
            <a:off x="2443164" y="3752850"/>
            <a:ext cx="5722937" cy="0"/>
          </a:xfrm>
          <a:prstGeom prst="line">
            <a:avLst/>
          </a:prstGeom>
          <a:noFill/>
          <a:ln w="9525">
            <a:solidFill>
              <a:srgbClr val="0033C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0" tIns="45716" rIns="91430" bIns="45716"/>
          <a:lstStyle/>
          <a:p>
            <a:endParaRPr lang="en-US">
              <a:solidFill>
                <a:srgbClr val="000000"/>
              </a:solidFill>
            </a:endParaRPr>
          </a:p>
        </p:txBody>
      </p:sp>
      <p:pic>
        <p:nvPicPr>
          <p:cNvPr id="1026" name="Picture 2" descr="https://upload.wikimedia.org/wikipedia/commons/thumb/8/82/Seal_of_Massachusetts.svg/2000px-Seal_of_Massachusetts.sv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70787" y="2030667"/>
            <a:ext cx="1365477" cy="13654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4"/>
          <p:cNvSpPr>
            <a:spLocks noGrp="1" noChangeArrowheads="1"/>
          </p:cNvSpPr>
          <p:nvPr>
            <p:ph type="ctrTitle"/>
          </p:nvPr>
        </p:nvSpPr>
        <p:spPr>
          <a:xfrm>
            <a:off x="2274970" y="1814170"/>
            <a:ext cx="6069891" cy="1843430"/>
          </a:xfrm>
          <a:prstGeom prst="rect">
            <a:avLst/>
          </a:prstGeom>
        </p:spPr>
        <p:txBody>
          <a:bodyPr lIns="91430" tIns="45716" rIns="91430" bIns="45716" anchor="ctr"/>
          <a:lstStyle>
            <a:lvl1pPr>
              <a:lnSpc>
                <a:spcPct val="100000"/>
              </a:lnSpc>
              <a:spcAft>
                <a:spcPts val="612"/>
              </a:spcAft>
              <a:defRPr/>
            </a:lvl1pPr>
          </a:lstStyle>
          <a:p>
            <a:pPr>
              <a:lnSpc>
                <a:spcPct val="100000"/>
              </a:lnSpc>
              <a:spcAft>
                <a:spcPts val="600"/>
              </a:spcAft>
            </a:pPr>
            <a:r>
              <a:rPr lang="en-US" sz="2800">
                <a:solidFill>
                  <a:srgbClr val="00269E"/>
                </a:solidFill>
                <a:latin typeface="Arial" pitchFamily="34" charset="0"/>
                <a:cs typeface="Arial" pitchFamily="34" charset="0"/>
              </a:rPr>
              <a:t>Commonwealth of Massachusetts</a:t>
            </a:r>
            <a:br>
              <a:rPr lang="en-US" sz="2800">
                <a:solidFill>
                  <a:srgbClr val="00269E"/>
                </a:solidFill>
                <a:latin typeface="Arial" pitchFamily="34" charset="0"/>
                <a:cs typeface="Arial" pitchFamily="34" charset="0"/>
              </a:rPr>
            </a:br>
            <a:br>
              <a:rPr lang="en-US" sz="16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SECRETARIAT]</a:t>
            </a:r>
            <a:br>
              <a:rPr lang="en-US" sz="1800">
                <a:solidFill>
                  <a:srgbClr val="00269E"/>
                </a:solidFill>
                <a:latin typeface="Arial" pitchFamily="34" charset="0"/>
                <a:cs typeface="Arial" pitchFamily="34" charset="0"/>
              </a:rPr>
            </a:br>
            <a:br>
              <a:rPr lang="en-US" sz="1000">
                <a:solidFill>
                  <a:srgbClr val="00269E"/>
                </a:solidFill>
                <a:latin typeface="Arial" pitchFamily="34" charset="0"/>
                <a:cs typeface="Arial" pitchFamily="34" charset="0"/>
              </a:rPr>
            </a:br>
            <a:r>
              <a:rPr lang="en-US" sz="1600">
                <a:solidFill>
                  <a:srgbClr val="00269E"/>
                </a:solidFill>
                <a:latin typeface="Arial" pitchFamily="34" charset="0"/>
                <a:cs typeface="Arial" pitchFamily="34" charset="0"/>
              </a:rPr>
              <a:t>Presentation to the Governor</a:t>
            </a:r>
            <a:endParaRPr lang="en-US" sz="2400">
              <a:solidFill>
                <a:srgbClr val="00269E"/>
              </a:solidFill>
              <a:latin typeface="Arial" pitchFamily="34" charset="0"/>
              <a:cs typeface="Arial" pitchFamily="34" charset="0"/>
            </a:endParaRPr>
          </a:p>
        </p:txBody>
      </p:sp>
      <p:sp>
        <p:nvSpPr>
          <p:cNvPr id="7" name="TextBox 6"/>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a:solidFill>
                  <a:srgbClr val="000000"/>
                </a:solidFill>
              </a:rPr>
              <a:t>Draft: For Policy Development Purposes</a:t>
            </a:r>
          </a:p>
        </p:txBody>
      </p:sp>
    </p:spTree>
    <p:extLst>
      <p:ext uri="{BB962C8B-B14F-4D97-AF65-F5344CB8AC3E}">
        <p14:creationId xmlns:p14="http://schemas.microsoft.com/office/powerpoint/2010/main" val="40477769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Date Placeholder 1"/>
          <p:cNvSpPr>
            <a:spLocks noGrp="1"/>
          </p:cNvSpPr>
          <p:nvPr>
            <p:ph type="dt" sz="half" idx="2"/>
          </p:nvPr>
        </p:nvSpPr>
        <p:spPr>
          <a:xfrm>
            <a:off x="7201100" y="6269581"/>
            <a:ext cx="1673352" cy="155448"/>
          </a:xfrm>
          <a:prstGeom prst="rect">
            <a:avLst/>
          </a:prstGeom>
        </p:spPr>
        <p:txBody>
          <a:bodyPr/>
          <a:lstStyle>
            <a:lvl1pPr algn="r">
              <a:defRPr sz="800"/>
            </a:lvl1pPr>
          </a:lstStyle>
          <a:p>
            <a:endParaRPr lang="en-US">
              <a:solidFill>
                <a:srgbClr val="000000"/>
              </a:solidFill>
            </a:endParaRPr>
          </a:p>
        </p:txBody>
      </p:sp>
    </p:spTree>
    <p:extLst>
      <p:ext uri="{BB962C8B-B14F-4D97-AF65-F5344CB8AC3E}">
        <p14:creationId xmlns:p14="http://schemas.microsoft.com/office/powerpoint/2010/main" val="4329505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srgbClr val="000000"/>
              </a:solidFill>
            </a:endParaRPr>
          </a:p>
        </p:txBody>
      </p:sp>
      <p:sp>
        <p:nvSpPr>
          <p:cNvPr id="9" name="Content Placeholder 8"/>
          <p:cNvSpPr>
            <a:spLocks noGrp="1"/>
          </p:cNvSpPr>
          <p:nvPr>
            <p:ph sz="quarter" idx="16"/>
          </p:nvPr>
        </p:nvSpPr>
        <p:spPr>
          <a:xfrm>
            <a:off x="470002" y="1698958"/>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2" y="1695148"/>
            <a:ext cx="3957219" cy="4438496"/>
          </a:xfrm>
          <a:prstGeom prst="rect">
            <a:avLst/>
          </a:prstGeom>
        </p:spPr>
        <p:txBody>
          <a:bodyPr lIns="91430" tIns="45716" rIns="91430" bIns="45716"/>
          <a:lstStyle>
            <a:lvl1pPr marL="0" indent="0">
              <a:spcBef>
                <a:spcPts val="1000"/>
              </a:spcBef>
              <a:buClr>
                <a:schemeClr val="tx1"/>
              </a:buClr>
              <a:buFont typeface="Arial" pitchFamily="34" charset="0"/>
              <a:buNone/>
              <a:defRPr sz="1300" b="0">
                <a:solidFill>
                  <a:schemeClr val="tx2"/>
                </a:solidFill>
                <a:latin typeface="Arial" pitchFamily="34" charset="0"/>
                <a:cs typeface="Arial" pitchFamily="34" charset="0"/>
              </a:defRPr>
            </a:lvl1pPr>
            <a:lvl2pPr marL="400008" indent="-177781">
              <a:spcBef>
                <a:spcPts val="600"/>
              </a:spcBef>
              <a:buClr>
                <a:schemeClr val="tx1"/>
              </a:buClr>
              <a:buFont typeface="Arial" pitchFamily="34" charset="0"/>
              <a:buChar char="•"/>
              <a:defRPr sz="1400">
                <a:solidFill>
                  <a:schemeClr val="tx2"/>
                </a:solidFill>
                <a:latin typeface="Arial" pitchFamily="34" charset="0"/>
                <a:cs typeface="Arial" pitchFamily="34" charset="0"/>
              </a:defRPr>
            </a:lvl2pPr>
            <a:lvl3pPr marL="571439" indent="-171432">
              <a:spcBef>
                <a:spcPts val="600"/>
              </a:spcBef>
              <a:buClr>
                <a:schemeClr val="tx1"/>
              </a:buClr>
              <a:buFont typeface="Arial" pitchFamily="34" charset="0"/>
              <a:buChar char="›"/>
              <a:defRPr sz="1200">
                <a:solidFill>
                  <a:schemeClr val="tx2"/>
                </a:solidFill>
                <a:latin typeface="Arial" pitchFamily="34" charset="0"/>
                <a:cs typeface="Arial" pitchFamily="34" charset="0"/>
              </a:defRPr>
            </a:lvl3pPr>
            <a:lvl4pPr marL="742871"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1"/>
          <p:cNvSpPr>
            <a:spLocks noGrp="1"/>
          </p:cNvSpPr>
          <p:nvPr>
            <p:ph type="title"/>
          </p:nvPr>
        </p:nvSpPr>
        <p:spPr>
          <a:xfrm>
            <a:off x="470002" y="834887"/>
            <a:ext cx="7751547" cy="374495"/>
          </a:xfrm>
          <a:prstGeom prst="rect">
            <a:avLst/>
          </a:prstGeom>
        </p:spPr>
        <p:txBody>
          <a:bodyPr lIns="91430" tIns="45716" rIns="91430" bIns="45716"/>
          <a:lstStyle>
            <a:lvl1pPr>
              <a:lnSpc>
                <a:spcPct val="100000"/>
              </a:lnSpc>
              <a:defRPr sz="1600" b="1">
                <a:solidFill>
                  <a:srgbClr val="00269E"/>
                </a:solidFill>
                <a:latin typeface="Arial" pitchFamily="34" charset="0"/>
                <a:cs typeface="Arial" pitchFamily="34" charset="0"/>
              </a:defRPr>
            </a:lvl1pPr>
          </a:lstStyle>
          <a:p>
            <a:endParaRPr lang="en-US"/>
          </a:p>
        </p:txBody>
      </p:sp>
    </p:spTree>
    <p:extLst>
      <p:ext uri="{BB962C8B-B14F-4D97-AF65-F5344CB8AC3E}">
        <p14:creationId xmlns:p14="http://schemas.microsoft.com/office/powerpoint/2010/main" val="10103322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Date Placeholder 1"/>
          <p:cNvSpPr>
            <a:spLocks noGrp="1"/>
          </p:cNvSpPr>
          <p:nvPr>
            <p:ph type="dt" sz="half" idx="2"/>
          </p:nvPr>
        </p:nvSpPr>
        <p:spPr>
          <a:xfrm>
            <a:off x="7201100" y="6269581"/>
            <a:ext cx="1673352" cy="155448"/>
          </a:xfrm>
          <a:prstGeom prst="rect">
            <a:avLst/>
          </a:prstGeom>
        </p:spPr>
        <p:txBody>
          <a:bodyPr/>
          <a:lstStyle>
            <a:lvl1pPr algn="r">
              <a:defRPr sz="800"/>
            </a:lvl1pPr>
          </a:lstStyle>
          <a:p>
            <a:endParaRPr lang="en-US">
              <a:solidFill>
                <a:srgbClr val="000000"/>
              </a:solidFill>
            </a:endParaRPr>
          </a:p>
        </p:txBody>
      </p:sp>
      <p:sp>
        <p:nvSpPr>
          <p:cNvPr id="2" name="Rectangle 1"/>
          <p:cNvSpPr/>
          <p:nvPr userDrawn="1"/>
        </p:nvSpPr>
        <p:spPr>
          <a:xfrm>
            <a:off x="396241" y="1317044"/>
            <a:ext cx="8435340"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a:solidFill>
                <a:srgbClr val="FFFFFF"/>
              </a:solidFill>
            </a:endParaRPr>
          </a:p>
        </p:txBody>
      </p:sp>
      <p:sp>
        <p:nvSpPr>
          <p:cNvPr id="11" name="Rectangle 10"/>
          <p:cNvSpPr/>
          <p:nvPr userDrawn="1"/>
        </p:nvSpPr>
        <p:spPr>
          <a:xfrm>
            <a:off x="327660" y="624840"/>
            <a:ext cx="7673340" cy="236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endParaRPr lang="en-US">
              <a:solidFill>
                <a:srgbClr val="FFFFFF"/>
              </a:solidFill>
            </a:endParaRPr>
          </a:p>
        </p:txBody>
      </p:sp>
    </p:spTree>
    <p:extLst>
      <p:ext uri="{BB962C8B-B14F-4D97-AF65-F5344CB8AC3E}">
        <p14:creationId xmlns:p14="http://schemas.microsoft.com/office/powerpoint/2010/main" val="394022786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8"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a:solidFill>
                    <a:srgbClr val="000000"/>
                  </a:solidFill>
                  <a:latin typeface="Arial"/>
                </a:rPr>
                <a:t>CONFIDENTIAL AND PROPRIETARY</a:t>
              </a:r>
            </a:p>
            <a:p>
              <a:pPr defTabSz="820158" eaLnBrk="0" hangingPunct="0"/>
              <a:r>
                <a:rPr lang="en-US" sz="80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08" y="1777967"/>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808"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40685796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4511422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144467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iple">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228701" y="29943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228701" y="4708858"/>
            <a:ext cx="8686800" cy="1600200"/>
          </a:xfrm>
          <a:prstGeom prst="rect">
            <a:avLst/>
          </a:prstGeom>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10331803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346461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08148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8"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ocument type</a:t>
              </a: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hangingPunct="0"/>
              <a:r>
                <a:rPr lang="en-US" sz="800">
                  <a:solidFill>
                    <a:srgbClr val="000000"/>
                  </a:solidFill>
                  <a:latin typeface="Arial"/>
                </a:rPr>
                <a:t>CONFIDENTIAL AND PROPRIETARY</a:t>
              </a:r>
            </a:p>
            <a:p>
              <a:pPr defTabSz="820158" eaLnBrk="0" hangingPunct="0"/>
              <a:r>
                <a:rPr lang="en-US" sz="800">
                  <a:solidFill>
                    <a:srgbClr val="000000"/>
                  </a:solidFill>
                  <a:latin typeface="Aria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08" y="1777967"/>
            <a:ext cx="5407401"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808"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Tree>
    <p:extLst>
      <p:ext uri="{BB962C8B-B14F-4D97-AF65-F5344CB8AC3E}">
        <p14:creationId xmlns:p14="http://schemas.microsoft.com/office/powerpoint/2010/main" val="39830596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4511422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6350000" imgH="6350000" progId="TCLayout.ActiveDocument.1">
                  <p:embed/>
                </p:oleObj>
              </mc:Choice>
              <mc:Fallback>
                <p:oleObj name="think-cell Slide" r:id="rId3" imgW="6350000" imgH="635000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21977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3464613"/>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564506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5CD319BE-D9B6-4EAB-9573-09C8D78FCFB3}" type="datetime1">
              <a:rPr lang="en-US" b="1" smtClean="0">
                <a:solidFill>
                  <a:prstClr val="black">
                    <a:tint val="75000"/>
                  </a:prstClr>
                </a:solidFill>
              </a:rPr>
              <a:t>5/14/25</a:t>
            </a:fld>
            <a:endParaRPr lang="en-US" b="1">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b="1">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9C0CE6A8-29A4-4DCA-8DF6-58DCCC5D35C7}" type="slidenum">
              <a:rPr lang="en-US" b="1" smtClean="0">
                <a:solidFill>
                  <a:prstClr val="black">
                    <a:tint val="75000"/>
                  </a:prstClr>
                </a:solidFill>
              </a:rPr>
              <a:pPr>
                <a:defRPr/>
              </a:pPr>
              <a:t>‹#›</a:t>
            </a:fld>
            <a:endParaRPr lang="en-US" b="1">
              <a:solidFill>
                <a:prstClr val="black">
                  <a:tint val="75000"/>
                </a:prstClr>
              </a:solidFill>
            </a:endParaRPr>
          </a:p>
        </p:txBody>
      </p:sp>
    </p:spTree>
    <p:extLst>
      <p:ext uri="{BB962C8B-B14F-4D97-AF65-F5344CB8AC3E}">
        <p14:creationId xmlns:p14="http://schemas.microsoft.com/office/powerpoint/2010/main" val="21719058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A6C7769B-F437-47CD-907D-E86285404B8E}" type="datetime1">
              <a:rPr lang="en-US" b="1" smtClean="0">
                <a:solidFill>
                  <a:prstClr val="black">
                    <a:tint val="75000"/>
                  </a:prstClr>
                </a:solidFill>
              </a:rPr>
              <a:t>5/14/25</a:t>
            </a:fld>
            <a:endParaRPr lang="en-US" b="1">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b="1">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9C0CE6A8-29A4-4DCA-8DF6-58DCCC5D35C7}" type="slidenum">
              <a:rPr lang="en-US" b="1" smtClean="0">
                <a:solidFill>
                  <a:prstClr val="black">
                    <a:tint val="75000"/>
                  </a:prstClr>
                </a:solidFill>
              </a:rPr>
              <a:pPr>
                <a:defRPr/>
              </a:pPr>
              <a:t>‹#›</a:t>
            </a:fld>
            <a:endParaRPr lang="en-US" b="1">
              <a:solidFill>
                <a:prstClr val="black">
                  <a:tint val="75000"/>
                </a:prstClr>
              </a:solidFill>
            </a:endParaRPr>
          </a:p>
        </p:txBody>
      </p:sp>
    </p:spTree>
    <p:extLst>
      <p:ext uri="{BB962C8B-B14F-4D97-AF65-F5344CB8AC3E}">
        <p14:creationId xmlns:p14="http://schemas.microsoft.com/office/powerpoint/2010/main" val="22197203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fld id="{B512C597-3633-4DC7-BD1D-66D032B162CC}" type="datetime1">
              <a:rPr lang="en-US" b="1" smtClean="0">
                <a:solidFill>
                  <a:prstClr val="black">
                    <a:tint val="75000"/>
                  </a:prstClr>
                </a:solidFill>
              </a:rPr>
              <a:t>5/14/25</a:t>
            </a:fld>
            <a:endParaRPr lang="en-US" b="1">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b="1">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9C0CE6A8-29A4-4DCA-8DF6-58DCCC5D35C7}" type="slidenum">
              <a:rPr lang="en-US" b="1" smtClean="0">
                <a:solidFill>
                  <a:prstClr val="black">
                    <a:tint val="75000"/>
                  </a:prstClr>
                </a:solidFill>
              </a:rPr>
              <a:pPr>
                <a:defRPr/>
              </a:pPr>
              <a:t>‹#›</a:t>
            </a:fld>
            <a:endParaRPr lang="en-US" b="1">
              <a:solidFill>
                <a:prstClr val="black">
                  <a:tint val="75000"/>
                </a:prstClr>
              </a:solidFill>
            </a:endParaRPr>
          </a:p>
        </p:txBody>
      </p:sp>
    </p:spTree>
    <p:extLst>
      <p:ext uri="{BB962C8B-B14F-4D97-AF65-F5344CB8AC3E}">
        <p14:creationId xmlns:p14="http://schemas.microsoft.com/office/powerpoint/2010/main" val="17457061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defRPr/>
            </a:pPr>
            <a:fld id="{3EEE5D29-3D69-41A2-A82A-5A21B4F2A6C8}" type="datetime1">
              <a:rPr lang="en-US" b="1" smtClean="0">
                <a:solidFill>
                  <a:prstClr val="black">
                    <a:tint val="75000"/>
                  </a:prstClr>
                </a:solidFill>
              </a:rPr>
              <a:t>5/14/25</a:t>
            </a:fld>
            <a:endParaRPr lang="en-US" b="1">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b="1">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9C0CE6A8-29A4-4DCA-8DF6-58DCCC5D35C7}" type="slidenum">
              <a:rPr lang="en-US" b="1" smtClean="0">
                <a:solidFill>
                  <a:prstClr val="black">
                    <a:tint val="75000"/>
                  </a:prstClr>
                </a:solidFill>
              </a:rPr>
              <a:pPr>
                <a:defRPr/>
              </a:pPr>
              <a:t>‹#›</a:t>
            </a:fld>
            <a:endParaRPr lang="en-US" b="1">
              <a:solidFill>
                <a:prstClr val="black">
                  <a:tint val="75000"/>
                </a:prstClr>
              </a:solidFill>
            </a:endParaRPr>
          </a:p>
        </p:txBody>
      </p:sp>
    </p:spTree>
    <p:extLst>
      <p:ext uri="{BB962C8B-B14F-4D97-AF65-F5344CB8AC3E}">
        <p14:creationId xmlns:p14="http://schemas.microsoft.com/office/powerpoint/2010/main" val="23624310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defRPr/>
            </a:pPr>
            <a:fld id="{2379F3D0-FD33-41B8-A43D-B098B8B156D3}" type="datetime1">
              <a:rPr lang="en-US" b="1" smtClean="0">
                <a:solidFill>
                  <a:prstClr val="black">
                    <a:tint val="75000"/>
                  </a:prstClr>
                </a:solidFill>
              </a:rPr>
              <a:t>5/14/25</a:t>
            </a:fld>
            <a:endParaRPr lang="en-US" b="1">
              <a:solidFill>
                <a:prstClr val="black">
                  <a:tint val="75000"/>
                </a:prstClr>
              </a:solidFill>
            </a:endParaRPr>
          </a:p>
        </p:txBody>
      </p:sp>
      <p:sp>
        <p:nvSpPr>
          <p:cNvPr id="8" name="Footer Placeholder 7"/>
          <p:cNvSpPr>
            <a:spLocks noGrp="1"/>
          </p:cNvSpPr>
          <p:nvPr>
            <p:ph type="ftr" sz="quarter" idx="11"/>
          </p:nvPr>
        </p:nvSpPr>
        <p:spPr/>
        <p:txBody>
          <a:bodyPr/>
          <a:lstStyle/>
          <a:p>
            <a:pPr>
              <a:defRPr/>
            </a:pPr>
            <a:endParaRPr lang="en-US" b="1">
              <a:solidFill>
                <a:prstClr val="black">
                  <a:tint val="75000"/>
                </a:prstClr>
              </a:solidFill>
            </a:endParaRPr>
          </a:p>
        </p:txBody>
      </p:sp>
      <p:sp>
        <p:nvSpPr>
          <p:cNvPr id="9" name="Slide Number Placeholder 8"/>
          <p:cNvSpPr>
            <a:spLocks noGrp="1"/>
          </p:cNvSpPr>
          <p:nvPr>
            <p:ph type="sldNum" sz="quarter" idx="12"/>
          </p:nvPr>
        </p:nvSpPr>
        <p:spPr/>
        <p:txBody>
          <a:bodyPr/>
          <a:lstStyle/>
          <a:p>
            <a:pPr>
              <a:defRPr/>
            </a:pPr>
            <a:fld id="{9C0CE6A8-29A4-4DCA-8DF6-58DCCC5D35C7}" type="slidenum">
              <a:rPr lang="en-US" b="1" smtClean="0">
                <a:solidFill>
                  <a:prstClr val="black">
                    <a:tint val="75000"/>
                  </a:prstClr>
                </a:solidFill>
              </a:rPr>
              <a:pPr>
                <a:defRPr/>
              </a:pPr>
              <a:t>‹#›</a:t>
            </a:fld>
            <a:endParaRPr lang="en-US" b="1">
              <a:solidFill>
                <a:prstClr val="black">
                  <a:tint val="75000"/>
                </a:prstClr>
              </a:solidFill>
            </a:endParaRPr>
          </a:p>
        </p:txBody>
      </p:sp>
    </p:spTree>
    <p:extLst>
      <p:ext uri="{BB962C8B-B14F-4D97-AF65-F5344CB8AC3E}">
        <p14:creationId xmlns:p14="http://schemas.microsoft.com/office/powerpoint/2010/main" val="25031472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6A097DB1-4BCB-4A36-B8F4-3AE4198CC8E9}" type="datetime1">
              <a:rPr lang="en-US" b="1" smtClean="0">
                <a:solidFill>
                  <a:prstClr val="black">
                    <a:tint val="75000"/>
                  </a:prstClr>
                </a:solidFill>
              </a:rPr>
              <a:t>5/14/25</a:t>
            </a:fld>
            <a:endParaRPr lang="en-US" b="1">
              <a:solidFill>
                <a:prstClr val="black">
                  <a:tint val="75000"/>
                </a:prstClr>
              </a:solidFill>
            </a:endParaRPr>
          </a:p>
        </p:txBody>
      </p:sp>
      <p:sp>
        <p:nvSpPr>
          <p:cNvPr id="4" name="Footer Placeholder 3"/>
          <p:cNvSpPr>
            <a:spLocks noGrp="1"/>
          </p:cNvSpPr>
          <p:nvPr>
            <p:ph type="ftr" sz="quarter" idx="11"/>
          </p:nvPr>
        </p:nvSpPr>
        <p:spPr/>
        <p:txBody>
          <a:bodyPr/>
          <a:lstStyle/>
          <a:p>
            <a:pPr>
              <a:defRPr/>
            </a:pPr>
            <a:endParaRPr lang="en-US" b="1">
              <a:solidFill>
                <a:prstClr val="black">
                  <a:tint val="75000"/>
                </a:prstClr>
              </a:solidFill>
            </a:endParaRPr>
          </a:p>
        </p:txBody>
      </p:sp>
      <p:sp>
        <p:nvSpPr>
          <p:cNvPr id="5" name="Slide Number Placeholder 4"/>
          <p:cNvSpPr>
            <a:spLocks noGrp="1"/>
          </p:cNvSpPr>
          <p:nvPr>
            <p:ph type="sldNum" sz="quarter" idx="12"/>
          </p:nvPr>
        </p:nvSpPr>
        <p:spPr/>
        <p:txBody>
          <a:bodyPr/>
          <a:lstStyle/>
          <a:p>
            <a:pPr>
              <a:defRPr/>
            </a:pPr>
            <a:fld id="{9C0CE6A8-29A4-4DCA-8DF6-58DCCC5D35C7}" type="slidenum">
              <a:rPr lang="en-US" b="1" smtClean="0">
                <a:solidFill>
                  <a:prstClr val="black">
                    <a:tint val="75000"/>
                  </a:prstClr>
                </a:solidFill>
              </a:rPr>
              <a:pPr>
                <a:defRPr/>
              </a:pPr>
              <a:t>‹#›</a:t>
            </a:fld>
            <a:endParaRPr lang="en-US" b="1">
              <a:solidFill>
                <a:prstClr val="black">
                  <a:tint val="75000"/>
                </a:prstClr>
              </a:solidFill>
            </a:endParaRPr>
          </a:p>
        </p:txBody>
      </p:sp>
    </p:spTree>
    <p:extLst>
      <p:ext uri="{BB962C8B-B14F-4D97-AF65-F5344CB8AC3E}">
        <p14:creationId xmlns:p14="http://schemas.microsoft.com/office/powerpoint/2010/main" val="40512462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ripleOutlined">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228701" y="1279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8"/>
          </p:nvPr>
        </p:nvSpPr>
        <p:spPr>
          <a:xfrm>
            <a:off x="228701" y="29943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Content Placeholder 8"/>
          <p:cNvSpPr>
            <a:spLocks noGrp="1"/>
          </p:cNvSpPr>
          <p:nvPr>
            <p:ph sz="quarter" idx="19"/>
          </p:nvPr>
        </p:nvSpPr>
        <p:spPr>
          <a:xfrm>
            <a:off x="228701" y="4708858"/>
            <a:ext cx="8686800" cy="160020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anose="020B0604020202020204"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8"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12821333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5AB1D71B-E716-4924-8D30-F48482B25AB4}" type="datetime1">
              <a:rPr lang="en-US" altLang="en-US" smtClean="0"/>
              <a:t>5/14/25</a:t>
            </a:fld>
            <a:endParaRPr lang="en-US" altLang="en-US"/>
          </a:p>
        </p:txBody>
      </p:sp>
      <p:sp>
        <p:nvSpPr>
          <p:cNvPr id="3" name="Footer Placeholder 2"/>
          <p:cNvSpPr>
            <a:spLocks noGrp="1"/>
          </p:cNvSpPr>
          <p:nvPr>
            <p:ph type="ftr" sz="quarter" idx="11"/>
          </p:nvPr>
        </p:nvSpPr>
        <p:spPr/>
        <p:txBody>
          <a:bodyPr/>
          <a:lstStyle/>
          <a:p>
            <a:pPr>
              <a:defRPr/>
            </a:pPr>
            <a:endParaRPr lang="en-US" altLang="en-US"/>
          </a:p>
        </p:txBody>
      </p:sp>
      <p:sp>
        <p:nvSpPr>
          <p:cNvPr id="4" name="Slide Number Placeholder 3"/>
          <p:cNvSpPr>
            <a:spLocks noGrp="1"/>
          </p:cNvSpPr>
          <p:nvPr>
            <p:ph type="sldNum" sz="quarter" idx="12"/>
          </p:nvPr>
        </p:nvSpPr>
        <p:spPr/>
        <p:txBody>
          <a:bodyPr/>
          <a:lstStyle/>
          <a:p>
            <a:pPr>
              <a:defRPr/>
            </a:pPr>
            <a:fld id="{90A9E658-6C7B-4546-9FE3-35CF73600A22}" type="slidenum">
              <a:rPr lang="en-US" altLang="en-US" smtClean="0"/>
              <a:pPr>
                <a:defRPr/>
              </a:pPr>
              <a:t>‹#›</a:t>
            </a:fld>
            <a:endParaRPr lang="en-US" altLang="en-US"/>
          </a:p>
        </p:txBody>
      </p:sp>
    </p:spTree>
    <p:extLst>
      <p:ext uri="{BB962C8B-B14F-4D97-AF65-F5344CB8AC3E}">
        <p14:creationId xmlns:p14="http://schemas.microsoft.com/office/powerpoint/2010/main" val="56253111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F159C51C-3B88-4EB2-AB2E-902226A724C3}" type="datetime1">
              <a:rPr lang="en-US" b="1" smtClean="0">
                <a:solidFill>
                  <a:prstClr val="black">
                    <a:tint val="75000"/>
                  </a:prstClr>
                </a:solidFill>
              </a:rPr>
              <a:t>5/14/25</a:t>
            </a:fld>
            <a:endParaRPr lang="en-US" b="1">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b="1">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9C0CE6A8-29A4-4DCA-8DF6-58DCCC5D35C7}" type="slidenum">
              <a:rPr lang="en-US" b="1" smtClean="0">
                <a:solidFill>
                  <a:prstClr val="black">
                    <a:tint val="75000"/>
                  </a:prstClr>
                </a:solidFill>
              </a:rPr>
              <a:pPr>
                <a:defRPr/>
              </a:pPr>
              <a:t>‹#›</a:t>
            </a:fld>
            <a:endParaRPr lang="en-US" b="1">
              <a:solidFill>
                <a:prstClr val="black">
                  <a:tint val="75000"/>
                </a:prstClr>
              </a:solidFill>
            </a:endParaRPr>
          </a:p>
        </p:txBody>
      </p:sp>
    </p:spTree>
    <p:extLst>
      <p:ext uri="{BB962C8B-B14F-4D97-AF65-F5344CB8AC3E}">
        <p14:creationId xmlns:p14="http://schemas.microsoft.com/office/powerpoint/2010/main" val="11990646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84129492-AA5D-4165-A84C-0D0A737C326C}" type="datetime1">
              <a:rPr lang="en-US" b="1" smtClean="0">
                <a:solidFill>
                  <a:prstClr val="black">
                    <a:tint val="75000"/>
                  </a:prstClr>
                </a:solidFill>
              </a:rPr>
              <a:t>5/14/25</a:t>
            </a:fld>
            <a:endParaRPr lang="en-US" b="1">
              <a:solidFill>
                <a:prstClr val="black">
                  <a:tint val="75000"/>
                </a:prstClr>
              </a:solidFill>
            </a:endParaRPr>
          </a:p>
        </p:txBody>
      </p:sp>
      <p:sp>
        <p:nvSpPr>
          <p:cNvPr id="6" name="Footer Placeholder 5"/>
          <p:cNvSpPr>
            <a:spLocks noGrp="1"/>
          </p:cNvSpPr>
          <p:nvPr>
            <p:ph type="ftr" sz="quarter" idx="11"/>
          </p:nvPr>
        </p:nvSpPr>
        <p:spPr/>
        <p:txBody>
          <a:bodyPr/>
          <a:lstStyle/>
          <a:p>
            <a:pPr>
              <a:defRPr/>
            </a:pPr>
            <a:endParaRPr lang="en-US" b="1">
              <a:solidFill>
                <a:prstClr val="black">
                  <a:tint val="75000"/>
                </a:prstClr>
              </a:solidFill>
            </a:endParaRPr>
          </a:p>
        </p:txBody>
      </p:sp>
      <p:sp>
        <p:nvSpPr>
          <p:cNvPr id="7" name="Slide Number Placeholder 6"/>
          <p:cNvSpPr>
            <a:spLocks noGrp="1"/>
          </p:cNvSpPr>
          <p:nvPr>
            <p:ph type="sldNum" sz="quarter" idx="12"/>
          </p:nvPr>
        </p:nvSpPr>
        <p:spPr/>
        <p:txBody>
          <a:bodyPr/>
          <a:lstStyle/>
          <a:p>
            <a:pPr>
              <a:defRPr/>
            </a:pPr>
            <a:fld id="{9C0CE6A8-29A4-4DCA-8DF6-58DCCC5D35C7}" type="slidenum">
              <a:rPr lang="en-US" b="1" smtClean="0">
                <a:solidFill>
                  <a:prstClr val="black">
                    <a:tint val="75000"/>
                  </a:prstClr>
                </a:solidFill>
              </a:rPr>
              <a:pPr>
                <a:defRPr/>
              </a:pPr>
              <a:t>‹#›</a:t>
            </a:fld>
            <a:endParaRPr lang="en-US" b="1">
              <a:solidFill>
                <a:prstClr val="black">
                  <a:tint val="75000"/>
                </a:prstClr>
              </a:solidFill>
            </a:endParaRPr>
          </a:p>
        </p:txBody>
      </p:sp>
    </p:spTree>
    <p:extLst>
      <p:ext uri="{BB962C8B-B14F-4D97-AF65-F5344CB8AC3E}">
        <p14:creationId xmlns:p14="http://schemas.microsoft.com/office/powerpoint/2010/main" val="17537288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2D9E3A88-CD26-4C9A-BFAB-CAF1D9FB751C}" type="datetime1">
              <a:rPr lang="en-US" b="1" smtClean="0">
                <a:solidFill>
                  <a:prstClr val="black">
                    <a:tint val="75000"/>
                  </a:prstClr>
                </a:solidFill>
              </a:rPr>
              <a:t>5/14/25</a:t>
            </a:fld>
            <a:endParaRPr lang="en-US" b="1">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b="1">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9C0CE6A8-29A4-4DCA-8DF6-58DCCC5D35C7}" type="slidenum">
              <a:rPr lang="en-US" b="1" smtClean="0">
                <a:solidFill>
                  <a:prstClr val="black">
                    <a:tint val="75000"/>
                  </a:prstClr>
                </a:solidFill>
              </a:rPr>
              <a:pPr>
                <a:defRPr/>
              </a:pPr>
              <a:t>‹#›</a:t>
            </a:fld>
            <a:endParaRPr lang="en-US" b="1">
              <a:solidFill>
                <a:prstClr val="black">
                  <a:tint val="75000"/>
                </a:prstClr>
              </a:solidFill>
            </a:endParaRPr>
          </a:p>
        </p:txBody>
      </p:sp>
    </p:spTree>
    <p:extLst>
      <p:ext uri="{BB962C8B-B14F-4D97-AF65-F5344CB8AC3E}">
        <p14:creationId xmlns:p14="http://schemas.microsoft.com/office/powerpoint/2010/main" val="41842727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0B33BCC4-9D66-4EC7-AB5C-171324E76761}" type="datetime1">
              <a:rPr lang="en-US" b="1" smtClean="0">
                <a:solidFill>
                  <a:prstClr val="black">
                    <a:tint val="75000"/>
                  </a:prstClr>
                </a:solidFill>
              </a:rPr>
              <a:t>5/14/25</a:t>
            </a:fld>
            <a:endParaRPr lang="en-US" b="1">
              <a:solidFill>
                <a:prstClr val="black">
                  <a:tint val="75000"/>
                </a:prstClr>
              </a:solidFill>
            </a:endParaRPr>
          </a:p>
        </p:txBody>
      </p:sp>
      <p:sp>
        <p:nvSpPr>
          <p:cNvPr id="5" name="Footer Placeholder 4"/>
          <p:cNvSpPr>
            <a:spLocks noGrp="1"/>
          </p:cNvSpPr>
          <p:nvPr>
            <p:ph type="ftr" sz="quarter" idx="11"/>
          </p:nvPr>
        </p:nvSpPr>
        <p:spPr/>
        <p:txBody>
          <a:bodyPr/>
          <a:lstStyle/>
          <a:p>
            <a:pPr>
              <a:defRPr/>
            </a:pPr>
            <a:endParaRPr lang="en-US" b="1">
              <a:solidFill>
                <a:prstClr val="black">
                  <a:tint val="75000"/>
                </a:prstClr>
              </a:solidFill>
            </a:endParaRPr>
          </a:p>
        </p:txBody>
      </p:sp>
      <p:sp>
        <p:nvSpPr>
          <p:cNvPr id="6" name="Slide Number Placeholder 5"/>
          <p:cNvSpPr>
            <a:spLocks noGrp="1"/>
          </p:cNvSpPr>
          <p:nvPr>
            <p:ph type="sldNum" sz="quarter" idx="12"/>
          </p:nvPr>
        </p:nvSpPr>
        <p:spPr/>
        <p:txBody>
          <a:bodyPr/>
          <a:lstStyle/>
          <a:p>
            <a:pPr>
              <a:defRPr/>
            </a:pPr>
            <a:fld id="{9C0CE6A8-29A4-4DCA-8DF6-58DCCC5D35C7}" type="slidenum">
              <a:rPr lang="en-US" b="1" smtClean="0">
                <a:solidFill>
                  <a:prstClr val="black">
                    <a:tint val="75000"/>
                  </a:prstClr>
                </a:solidFill>
              </a:rPr>
              <a:pPr>
                <a:defRPr/>
              </a:pPr>
              <a:t>‹#›</a:t>
            </a:fld>
            <a:endParaRPr lang="en-US" b="1">
              <a:solidFill>
                <a:prstClr val="black">
                  <a:tint val="75000"/>
                </a:prstClr>
              </a:solidFill>
            </a:endParaRPr>
          </a:p>
        </p:txBody>
      </p:sp>
    </p:spTree>
    <p:extLst>
      <p:ext uri="{BB962C8B-B14F-4D97-AF65-F5344CB8AC3E}">
        <p14:creationId xmlns:p14="http://schemas.microsoft.com/office/powerpoint/2010/main" val="300951232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41B9D4-989C-DB20-5B1F-C3996A43753C}"/>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277D139-A6E9-65A8-D6C1-060091F055F4}"/>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AF124B34-5AC0-AA0C-DD13-7D09A1B3A4E4}"/>
              </a:ext>
            </a:extLst>
          </p:cNvPr>
          <p:cNvSpPr>
            <a:spLocks noGrp="1"/>
          </p:cNvSpPr>
          <p:nvPr>
            <p:ph type="dt" sz="half" idx="10"/>
          </p:nvPr>
        </p:nvSpPr>
        <p:spPr/>
        <p:txBody>
          <a:bodyPr/>
          <a:lstStyle/>
          <a:p>
            <a:fld id="{841AFB9A-46A0-4021-9F4A-D444CBE1DD51}" type="datetimeFigureOut">
              <a:rPr lang="en-US" smtClean="0"/>
              <a:t>5/14/25</a:t>
            </a:fld>
            <a:endParaRPr lang="en-US"/>
          </a:p>
        </p:txBody>
      </p:sp>
      <p:sp>
        <p:nvSpPr>
          <p:cNvPr id="5" name="Footer Placeholder 4">
            <a:extLst>
              <a:ext uri="{FF2B5EF4-FFF2-40B4-BE49-F238E27FC236}">
                <a16:creationId xmlns:a16="http://schemas.microsoft.com/office/drawing/2014/main" id="{493ACB18-142A-1881-FC6A-0ED8DF4BD0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54FF91-5440-58D2-FFFA-88422C2735DF}"/>
              </a:ext>
            </a:extLst>
          </p:cNvPr>
          <p:cNvSpPr>
            <a:spLocks noGrp="1"/>
          </p:cNvSpPr>
          <p:nvPr>
            <p:ph type="sldNum" sz="quarter" idx="12"/>
          </p:nvPr>
        </p:nvSpPr>
        <p:spPr/>
        <p:txBody>
          <a:bodyPr/>
          <a:lstStyle/>
          <a:p>
            <a:fld id="{606776CB-43A1-4978-8F11-C662227D8B63}" type="slidenum">
              <a:rPr lang="en-US" smtClean="0"/>
              <a:t>‹#›</a:t>
            </a:fld>
            <a:endParaRPr lang="en-US"/>
          </a:p>
        </p:txBody>
      </p:sp>
    </p:spTree>
    <p:extLst>
      <p:ext uri="{BB962C8B-B14F-4D97-AF65-F5344CB8AC3E}">
        <p14:creationId xmlns:p14="http://schemas.microsoft.com/office/powerpoint/2010/main" val="28681675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955F01-024E-B497-D7C9-BB7B9BA5AE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393449-152C-D45C-216D-E003AAA29B5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DF650A0-35AC-F863-1425-AE5B2798F061}"/>
              </a:ext>
            </a:extLst>
          </p:cNvPr>
          <p:cNvSpPr>
            <a:spLocks noGrp="1"/>
          </p:cNvSpPr>
          <p:nvPr>
            <p:ph type="dt" sz="half" idx="10"/>
          </p:nvPr>
        </p:nvSpPr>
        <p:spPr/>
        <p:txBody>
          <a:bodyPr/>
          <a:lstStyle/>
          <a:p>
            <a:fld id="{841AFB9A-46A0-4021-9F4A-D444CBE1DD51}" type="datetimeFigureOut">
              <a:rPr lang="en-US" smtClean="0"/>
              <a:t>5/14/25</a:t>
            </a:fld>
            <a:endParaRPr lang="en-US"/>
          </a:p>
        </p:txBody>
      </p:sp>
      <p:sp>
        <p:nvSpPr>
          <p:cNvPr id="5" name="Footer Placeholder 4">
            <a:extLst>
              <a:ext uri="{FF2B5EF4-FFF2-40B4-BE49-F238E27FC236}">
                <a16:creationId xmlns:a16="http://schemas.microsoft.com/office/drawing/2014/main" id="{431F3703-5871-077A-F585-3F94393DEA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3E2722-6C36-8C9C-05AF-946F1E243184}"/>
              </a:ext>
            </a:extLst>
          </p:cNvPr>
          <p:cNvSpPr>
            <a:spLocks noGrp="1"/>
          </p:cNvSpPr>
          <p:nvPr>
            <p:ph type="sldNum" sz="quarter" idx="12"/>
          </p:nvPr>
        </p:nvSpPr>
        <p:spPr/>
        <p:txBody>
          <a:bodyPr/>
          <a:lstStyle/>
          <a:p>
            <a:fld id="{606776CB-43A1-4978-8F11-C662227D8B63}" type="slidenum">
              <a:rPr lang="en-US" smtClean="0"/>
              <a:t>‹#›</a:t>
            </a:fld>
            <a:endParaRPr lang="en-US"/>
          </a:p>
        </p:txBody>
      </p:sp>
    </p:spTree>
    <p:extLst>
      <p:ext uri="{BB962C8B-B14F-4D97-AF65-F5344CB8AC3E}">
        <p14:creationId xmlns:p14="http://schemas.microsoft.com/office/powerpoint/2010/main" val="9503139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5FA21-AA87-C772-246B-B9A791B41D23}"/>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9932F6BD-61CD-A0C9-884D-CB185159215A}"/>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60AA6FF-92FD-2A8C-9BFC-E03E925900F9}"/>
              </a:ext>
            </a:extLst>
          </p:cNvPr>
          <p:cNvSpPr>
            <a:spLocks noGrp="1"/>
          </p:cNvSpPr>
          <p:nvPr>
            <p:ph type="dt" sz="half" idx="10"/>
          </p:nvPr>
        </p:nvSpPr>
        <p:spPr/>
        <p:txBody>
          <a:bodyPr/>
          <a:lstStyle/>
          <a:p>
            <a:fld id="{841AFB9A-46A0-4021-9F4A-D444CBE1DD51}" type="datetimeFigureOut">
              <a:rPr lang="en-US" smtClean="0"/>
              <a:t>5/14/25</a:t>
            </a:fld>
            <a:endParaRPr lang="en-US"/>
          </a:p>
        </p:txBody>
      </p:sp>
      <p:sp>
        <p:nvSpPr>
          <p:cNvPr id="5" name="Footer Placeholder 4">
            <a:extLst>
              <a:ext uri="{FF2B5EF4-FFF2-40B4-BE49-F238E27FC236}">
                <a16:creationId xmlns:a16="http://schemas.microsoft.com/office/drawing/2014/main" id="{4A4B3EBA-2173-67B0-5114-F79562F9F1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162F668-6160-AD52-617E-D2AAEBA3DA5A}"/>
              </a:ext>
            </a:extLst>
          </p:cNvPr>
          <p:cNvSpPr>
            <a:spLocks noGrp="1"/>
          </p:cNvSpPr>
          <p:nvPr>
            <p:ph type="sldNum" sz="quarter" idx="12"/>
          </p:nvPr>
        </p:nvSpPr>
        <p:spPr/>
        <p:txBody>
          <a:bodyPr/>
          <a:lstStyle/>
          <a:p>
            <a:fld id="{606776CB-43A1-4978-8F11-C662227D8B63}" type="slidenum">
              <a:rPr lang="en-US" smtClean="0"/>
              <a:t>‹#›</a:t>
            </a:fld>
            <a:endParaRPr lang="en-US"/>
          </a:p>
        </p:txBody>
      </p:sp>
    </p:spTree>
    <p:extLst>
      <p:ext uri="{BB962C8B-B14F-4D97-AF65-F5344CB8AC3E}">
        <p14:creationId xmlns:p14="http://schemas.microsoft.com/office/powerpoint/2010/main" val="2766722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2F2C2-1D27-E17E-F208-ED6B56F374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0C6CEFB-F821-023B-C2AB-9CAD96CBA126}"/>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1B5CE1-300A-29ED-E862-9A9758792FF3}"/>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8E7A9C13-299B-AAD0-9C5D-ED8B6BEB2566}"/>
              </a:ext>
            </a:extLst>
          </p:cNvPr>
          <p:cNvSpPr>
            <a:spLocks noGrp="1"/>
          </p:cNvSpPr>
          <p:nvPr>
            <p:ph type="dt" sz="half" idx="10"/>
          </p:nvPr>
        </p:nvSpPr>
        <p:spPr/>
        <p:txBody>
          <a:bodyPr/>
          <a:lstStyle/>
          <a:p>
            <a:fld id="{841AFB9A-46A0-4021-9F4A-D444CBE1DD51}" type="datetimeFigureOut">
              <a:rPr lang="en-US" smtClean="0"/>
              <a:t>5/14/25</a:t>
            </a:fld>
            <a:endParaRPr lang="en-US"/>
          </a:p>
        </p:txBody>
      </p:sp>
      <p:sp>
        <p:nvSpPr>
          <p:cNvPr id="9" name="Footer Placeholder 8">
            <a:extLst>
              <a:ext uri="{FF2B5EF4-FFF2-40B4-BE49-F238E27FC236}">
                <a16:creationId xmlns:a16="http://schemas.microsoft.com/office/drawing/2014/main" id="{5BF5413D-4D54-6264-A4BA-2B2C2210E8BA}"/>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A2D369EF-2630-2A6A-4089-9371A2E65E83}"/>
              </a:ext>
            </a:extLst>
          </p:cNvPr>
          <p:cNvSpPr>
            <a:spLocks noGrp="1"/>
          </p:cNvSpPr>
          <p:nvPr>
            <p:ph type="sldNum" sz="quarter" idx="12"/>
          </p:nvPr>
        </p:nvSpPr>
        <p:spPr/>
        <p:txBody>
          <a:bodyPr/>
          <a:lstStyle/>
          <a:p>
            <a:fld id="{606776CB-43A1-4978-8F11-C662227D8B63}" type="slidenum">
              <a:rPr lang="en-US" smtClean="0"/>
              <a:t>‹#›</a:t>
            </a:fld>
            <a:endParaRPr lang="en-US"/>
          </a:p>
        </p:txBody>
      </p:sp>
    </p:spTree>
    <p:extLst>
      <p:ext uri="{BB962C8B-B14F-4D97-AF65-F5344CB8AC3E}">
        <p14:creationId xmlns:p14="http://schemas.microsoft.com/office/powerpoint/2010/main" val="39212327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5101A-DCD7-DC3C-509E-CBCEE0ACA6A6}"/>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CF75A23-B802-9B82-D2B8-52B40C63CAE5}"/>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C92DCE31-C698-D68C-2A18-BD5BD4A92C20}"/>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B413E2C-B3B7-041F-0C5C-716E57DE60CC}"/>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DEC9DBFA-5251-1D78-6392-047DF2702D1F}"/>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82AFA4F-1771-3594-5BFE-FA35B93B18EA}"/>
              </a:ext>
            </a:extLst>
          </p:cNvPr>
          <p:cNvSpPr>
            <a:spLocks noGrp="1"/>
          </p:cNvSpPr>
          <p:nvPr>
            <p:ph type="dt" sz="half" idx="10"/>
          </p:nvPr>
        </p:nvSpPr>
        <p:spPr/>
        <p:txBody>
          <a:bodyPr/>
          <a:lstStyle/>
          <a:p>
            <a:fld id="{841AFB9A-46A0-4021-9F4A-D444CBE1DD51}" type="datetimeFigureOut">
              <a:rPr lang="en-US" smtClean="0"/>
              <a:t>5/14/25</a:t>
            </a:fld>
            <a:endParaRPr lang="en-US"/>
          </a:p>
        </p:txBody>
      </p:sp>
      <p:sp>
        <p:nvSpPr>
          <p:cNvPr id="8" name="Footer Placeholder 7">
            <a:extLst>
              <a:ext uri="{FF2B5EF4-FFF2-40B4-BE49-F238E27FC236}">
                <a16:creationId xmlns:a16="http://schemas.microsoft.com/office/drawing/2014/main" id="{8CC85031-B0B1-58F1-569D-E4504093EFE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D2FD94D-BD39-FE83-F651-0B7D68882D0E}"/>
              </a:ext>
            </a:extLst>
          </p:cNvPr>
          <p:cNvSpPr>
            <a:spLocks noGrp="1"/>
          </p:cNvSpPr>
          <p:nvPr>
            <p:ph type="sldNum" sz="quarter" idx="12"/>
          </p:nvPr>
        </p:nvSpPr>
        <p:spPr/>
        <p:txBody>
          <a:bodyPr/>
          <a:lstStyle/>
          <a:p>
            <a:fld id="{606776CB-43A1-4978-8F11-C662227D8B63}" type="slidenum">
              <a:rPr lang="en-US" smtClean="0"/>
              <a:t>‹#›</a:t>
            </a:fld>
            <a:endParaRPr lang="en-US"/>
          </a:p>
        </p:txBody>
      </p:sp>
    </p:spTree>
    <p:extLst>
      <p:ext uri="{BB962C8B-B14F-4D97-AF65-F5344CB8AC3E}">
        <p14:creationId xmlns:p14="http://schemas.microsoft.com/office/powerpoint/2010/main" val="5258629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228702"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4648301" y="3850784"/>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4648301" y="1290463"/>
            <a:ext cx="4251960" cy="2468880"/>
          </a:xfrm>
          <a:prstGeom prst="rect">
            <a:avLst/>
          </a:prstGeom>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97580382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867AE-E08F-19B5-189A-7BBA10940A5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C3A4533-C4E5-4816-0843-18BB6911B02B}"/>
              </a:ext>
            </a:extLst>
          </p:cNvPr>
          <p:cNvSpPr>
            <a:spLocks noGrp="1"/>
          </p:cNvSpPr>
          <p:nvPr>
            <p:ph type="dt" sz="half" idx="10"/>
          </p:nvPr>
        </p:nvSpPr>
        <p:spPr/>
        <p:txBody>
          <a:bodyPr/>
          <a:lstStyle/>
          <a:p>
            <a:fld id="{841AFB9A-46A0-4021-9F4A-D444CBE1DD51}" type="datetimeFigureOut">
              <a:rPr lang="en-US" smtClean="0"/>
              <a:t>5/14/25</a:t>
            </a:fld>
            <a:endParaRPr lang="en-US"/>
          </a:p>
        </p:txBody>
      </p:sp>
      <p:sp>
        <p:nvSpPr>
          <p:cNvPr id="4" name="Footer Placeholder 3">
            <a:extLst>
              <a:ext uri="{FF2B5EF4-FFF2-40B4-BE49-F238E27FC236}">
                <a16:creationId xmlns:a16="http://schemas.microsoft.com/office/drawing/2014/main" id="{ED7DCFBB-D422-B9CB-C521-FDDDE46FB20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CB82F50-F136-22E4-E507-7D32FEBC3000}"/>
              </a:ext>
            </a:extLst>
          </p:cNvPr>
          <p:cNvSpPr>
            <a:spLocks noGrp="1"/>
          </p:cNvSpPr>
          <p:nvPr>
            <p:ph type="sldNum" sz="quarter" idx="12"/>
          </p:nvPr>
        </p:nvSpPr>
        <p:spPr/>
        <p:txBody>
          <a:bodyPr/>
          <a:lstStyle/>
          <a:p>
            <a:fld id="{606776CB-43A1-4978-8F11-C662227D8B63}" type="slidenum">
              <a:rPr lang="en-US" smtClean="0"/>
              <a:t>‹#›</a:t>
            </a:fld>
            <a:endParaRPr lang="en-US"/>
          </a:p>
        </p:txBody>
      </p:sp>
    </p:spTree>
    <p:extLst>
      <p:ext uri="{BB962C8B-B14F-4D97-AF65-F5344CB8AC3E}">
        <p14:creationId xmlns:p14="http://schemas.microsoft.com/office/powerpoint/2010/main" val="4541878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631FEF-E218-EDCA-8017-3C1584B4B297}"/>
              </a:ext>
            </a:extLst>
          </p:cNvPr>
          <p:cNvSpPr>
            <a:spLocks noGrp="1"/>
          </p:cNvSpPr>
          <p:nvPr>
            <p:ph type="dt" sz="half" idx="10"/>
          </p:nvPr>
        </p:nvSpPr>
        <p:spPr/>
        <p:txBody>
          <a:bodyPr/>
          <a:lstStyle/>
          <a:p>
            <a:fld id="{841AFB9A-46A0-4021-9F4A-D444CBE1DD51}" type="datetimeFigureOut">
              <a:rPr lang="en-US" smtClean="0"/>
              <a:t>5/14/25</a:t>
            </a:fld>
            <a:endParaRPr lang="en-US"/>
          </a:p>
        </p:txBody>
      </p:sp>
      <p:sp>
        <p:nvSpPr>
          <p:cNvPr id="3" name="Footer Placeholder 2">
            <a:extLst>
              <a:ext uri="{FF2B5EF4-FFF2-40B4-BE49-F238E27FC236}">
                <a16:creationId xmlns:a16="http://schemas.microsoft.com/office/drawing/2014/main" id="{0827613F-AC72-4999-7AB5-213256A230E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37E26F4-C70C-E857-10A4-70F456E7F93E}"/>
              </a:ext>
            </a:extLst>
          </p:cNvPr>
          <p:cNvSpPr>
            <a:spLocks noGrp="1"/>
          </p:cNvSpPr>
          <p:nvPr>
            <p:ph type="sldNum" sz="quarter" idx="12"/>
          </p:nvPr>
        </p:nvSpPr>
        <p:spPr/>
        <p:txBody>
          <a:bodyPr/>
          <a:lstStyle/>
          <a:p>
            <a:fld id="{606776CB-43A1-4978-8F11-C662227D8B63}" type="slidenum">
              <a:rPr lang="en-US" smtClean="0"/>
              <a:t>‹#›</a:t>
            </a:fld>
            <a:endParaRPr lang="en-US"/>
          </a:p>
        </p:txBody>
      </p:sp>
    </p:spTree>
    <p:extLst>
      <p:ext uri="{BB962C8B-B14F-4D97-AF65-F5344CB8AC3E}">
        <p14:creationId xmlns:p14="http://schemas.microsoft.com/office/powerpoint/2010/main" val="33875626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C5A28-1EA1-CC3B-7484-43F2C70EE969}"/>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D96511D0-98F6-DCC1-903A-03DF5CA3D8AE}"/>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12EC21B-E111-8F9B-89A3-506DA9739F72}"/>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D5769BCA-93C2-D0B1-F105-75C48402EAB1}"/>
              </a:ext>
            </a:extLst>
          </p:cNvPr>
          <p:cNvSpPr>
            <a:spLocks noGrp="1"/>
          </p:cNvSpPr>
          <p:nvPr>
            <p:ph type="dt" sz="half" idx="10"/>
          </p:nvPr>
        </p:nvSpPr>
        <p:spPr/>
        <p:txBody>
          <a:bodyPr/>
          <a:lstStyle/>
          <a:p>
            <a:fld id="{841AFB9A-46A0-4021-9F4A-D444CBE1DD51}" type="datetimeFigureOut">
              <a:rPr lang="en-US" smtClean="0"/>
              <a:t>5/14/25</a:t>
            </a:fld>
            <a:endParaRPr lang="en-US"/>
          </a:p>
        </p:txBody>
      </p:sp>
      <p:sp>
        <p:nvSpPr>
          <p:cNvPr id="6" name="Footer Placeholder 5">
            <a:extLst>
              <a:ext uri="{FF2B5EF4-FFF2-40B4-BE49-F238E27FC236}">
                <a16:creationId xmlns:a16="http://schemas.microsoft.com/office/drawing/2014/main" id="{481488D0-E15B-6990-00C9-E122FEE263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2B5DD1C-6547-19FE-8E2B-494123C50BB0}"/>
              </a:ext>
            </a:extLst>
          </p:cNvPr>
          <p:cNvSpPr>
            <a:spLocks noGrp="1"/>
          </p:cNvSpPr>
          <p:nvPr>
            <p:ph type="sldNum" sz="quarter" idx="12"/>
          </p:nvPr>
        </p:nvSpPr>
        <p:spPr/>
        <p:txBody>
          <a:bodyPr/>
          <a:lstStyle/>
          <a:p>
            <a:fld id="{606776CB-43A1-4978-8F11-C662227D8B63}" type="slidenum">
              <a:rPr lang="en-US" smtClean="0"/>
              <a:t>‹#›</a:t>
            </a:fld>
            <a:endParaRPr lang="en-US"/>
          </a:p>
        </p:txBody>
      </p:sp>
    </p:spTree>
    <p:extLst>
      <p:ext uri="{BB962C8B-B14F-4D97-AF65-F5344CB8AC3E}">
        <p14:creationId xmlns:p14="http://schemas.microsoft.com/office/powerpoint/2010/main" val="55834706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95A6E0-1838-9E49-3873-5D19BED07691}"/>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1DDBC7E2-E245-4CCD-74BD-AEFEE7218375}"/>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12775DD6-BD52-C6A6-46DC-5324FB9F6577}"/>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98862D59-4F30-ECCA-55B3-1FA0D70CEF30}"/>
              </a:ext>
            </a:extLst>
          </p:cNvPr>
          <p:cNvSpPr>
            <a:spLocks noGrp="1"/>
          </p:cNvSpPr>
          <p:nvPr>
            <p:ph type="dt" sz="half" idx="10"/>
          </p:nvPr>
        </p:nvSpPr>
        <p:spPr/>
        <p:txBody>
          <a:bodyPr/>
          <a:lstStyle/>
          <a:p>
            <a:fld id="{841AFB9A-46A0-4021-9F4A-D444CBE1DD51}" type="datetimeFigureOut">
              <a:rPr lang="en-US" smtClean="0"/>
              <a:t>5/14/25</a:t>
            </a:fld>
            <a:endParaRPr lang="en-US"/>
          </a:p>
        </p:txBody>
      </p:sp>
      <p:sp>
        <p:nvSpPr>
          <p:cNvPr id="6" name="Footer Placeholder 5">
            <a:extLst>
              <a:ext uri="{FF2B5EF4-FFF2-40B4-BE49-F238E27FC236}">
                <a16:creationId xmlns:a16="http://schemas.microsoft.com/office/drawing/2014/main" id="{91B09548-C2B3-9484-BCFB-FA4CBF5759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8CEBF25-FF83-F06B-7BF8-678A1779ADCE}"/>
              </a:ext>
            </a:extLst>
          </p:cNvPr>
          <p:cNvSpPr>
            <a:spLocks noGrp="1"/>
          </p:cNvSpPr>
          <p:nvPr>
            <p:ph type="sldNum" sz="quarter" idx="12"/>
          </p:nvPr>
        </p:nvSpPr>
        <p:spPr/>
        <p:txBody>
          <a:bodyPr/>
          <a:lstStyle/>
          <a:p>
            <a:fld id="{606776CB-43A1-4978-8F11-C662227D8B63}" type="slidenum">
              <a:rPr lang="en-US" smtClean="0"/>
              <a:t>‹#›</a:t>
            </a:fld>
            <a:endParaRPr lang="en-US"/>
          </a:p>
        </p:txBody>
      </p:sp>
    </p:spTree>
    <p:extLst>
      <p:ext uri="{BB962C8B-B14F-4D97-AF65-F5344CB8AC3E}">
        <p14:creationId xmlns:p14="http://schemas.microsoft.com/office/powerpoint/2010/main" val="13564045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9B28CF-8824-30CD-470E-818A689C905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BC17E94-EC55-C7E9-7C11-8E8AE795147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0148F8C-2D95-0F9C-E7B1-83538BB7F265}"/>
              </a:ext>
            </a:extLst>
          </p:cNvPr>
          <p:cNvSpPr>
            <a:spLocks noGrp="1"/>
          </p:cNvSpPr>
          <p:nvPr>
            <p:ph type="dt" sz="half" idx="10"/>
          </p:nvPr>
        </p:nvSpPr>
        <p:spPr/>
        <p:txBody>
          <a:bodyPr/>
          <a:lstStyle/>
          <a:p>
            <a:fld id="{841AFB9A-46A0-4021-9F4A-D444CBE1DD51}" type="datetimeFigureOut">
              <a:rPr lang="en-US" smtClean="0"/>
              <a:t>5/14/25</a:t>
            </a:fld>
            <a:endParaRPr lang="en-US"/>
          </a:p>
        </p:txBody>
      </p:sp>
      <p:sp>
        <p:nvSpPr>
          <p:cNvPr id="5" name="Footer Placeholder 4">
            <a:extLst>
              <a:ext uri="{FF2B5EF4-FFF2-40B4-BE49-F238E27FC236}">
                <a16:creationId xmlns:a16="http://schemas.microsoft.com/office/drawing/2014/main" id="{0A727657-7EBC-0BC9-DE4E-198CFB4126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9E5183-7A77-8740-7835-2CEB67BEC4C1}"/>
              </a:ext>
            </a:extLst>
          </p:cNvPr>
          <p:cNvSpPr>
            <a:spLocks noGrp="1"/>
          </p:cNvSpPr>
          <p:nvPr>
            <p:ph type="sldNum" sz="quarter" idx="12"/>
          </p:nvPr>
        </p:nvSpPr>
        <p:spPr/>
        <p:txBody>
          <a:bodyPr/>
          <a:lstStyle/>
          <a:p>
            <a:fld id="{606776CB-43A1-4978-8F11-C662227D8B63}" type="slidenum">
              <a:rPr lang="en-US" smtClean="0"/>
              <a:t>‹#›</a:t>
            </a:fld>
            <a:endParaRPr lang="en-US"/>
          </a:p>
        </p:txBody>
      </p:sp>
    </p:spTree>
    <p:extLst>
      <p:ext uri="{BB962C8B-B14F-4D97-AF65-F5344CB8AC3E}">
        <p14:creationId xmlns:p14="http://schemas.microsoft.com/office/powerpoint/2010/main" val="15082766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788BCD2-02B4-60BF-90AD-B37DC9393D69}"/>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948CEC4-144F-482D-1827-63EA3CC87280}"/>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F220C6-A1A6-6A6B-7C88-6BD352AA2170}"/>
              </a:ext>
            </a:extLst>
          </p:cNvPr>
          <p:cNvSpPr>
            <a:spLocks noGrp="1"/>
          </p:cNvSpPr>
          <p:nvPr>
            <p:ph type="dt" sz="half" idx="10"/>
          </p:nvPr>
        </p:nvSpPr>
        <p:spPr/>
        <p:txBody>
          <a:bodyPr/>
          <a:lstStyle/>
          <a:p>
            <a:fld id="{841AFB9A-46A0-4021-9F4A-D444CBE1DD51}" type="datetimeFigureOut">
              <a:rPr lang="en-US" smtClean="0"/>
              <a:t>5/14/25</a:t>
            </a:fld>
            <a:endParaRPr lang="en-US"/>
          </a:p>
        </p:txBody>
      </p:sp>
      <p:sp>
        <p:nvSpPr>
          <p:cNvPr id="5" name="Footer Placeholder 4">
            <a:extLst>
              <a:ext uri="{FF2B5EF4-FFF2-40B4-BE49-F238E27FC236}">
                <a16:creationId xmlns:a16="http://schemas.microsoft.com/office/drawing/2014/main" id="{321D41D6-1726-336E-8925-BBB058B39F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F38090-7BA4-3859-2DC4-E051A137AC58}"/>
              </a:ext>
            </a:extLst>
          </p:cNvPr>
          <p:cNvSpPr>
            <a:spLocks noGrp="1"/>
          </p:cNvSpPr>
          <p:nvPr>
            <p:ph type="sldNum" sz="quarter" idx="12"/>
          </p:nvPr>
        </p:nvSpPr>
        <p:spPr/>
        <p:txBody>
          <a:bodyPr/>
          <a:lstStyle/>
          <a:p>
            <a:fld id="{606776CB-43A1-4978-8F11-C662227D8B63}" type="slidenum">
              <a:rPr lang="en-US" smtClean="0"/>
              <a:t>‹#›</a:t>
            </a:fld>
            <a:endParaRPr lang="en-US"/>
          </a:p>
        </p:txBody>
      </p:sp>
    </p:spTree>
    <p:extLst>
      <p:ext uri="{BB962C8B-B14F-4D97-AF65-F5344CB8AC3E}">
        <p14:creationId xmlns:p14="http://schemas.microsoft.com/office/powerpoint/2010/main" val="38270129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209DE0-6FDA-F681-D98C-63D4A1AFA04E}"/>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B570D31-E1A3-B4FF-263B-90325AC9B6DA}"/>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EB287DA9-6E45-1391-3CFA-734C574C88E0}"/>
              </a:ext>
            </a:extLst>
          </p:cNvPr>
          <p:cNvSpPr>
            <a:spLocks noGrp="1"/>
          </p:cNvSpPr>
          <p:nvPr>
            <p:ph type="dt" sz="half" idx="10"/>
          </p:nvPr>
        </p:nvSpPr>
        <p:spPr/>
        <p:txBody>
          <a:bodyPr/>
          <a:lstStyle/>
          <a:p>
            <a:fld id="{3CA2C490-A756-426D-A08E-69C98007A596}" type="datetimeFigureOut">
              <a:rPr lang="en-US" smtClean="0"/>
              <a:t>5/14/25</a:t>
            </a:fld>
            <a:endParaRPr lang="en-US"/>
          </a:p>
        </p:txBody>
      </p:sp>
      <p:sp>
        <p:nvSpPr>
          <p:cNvPr id="5" name="Footer Placeholder 4">
            <a:extLst>
              <a:ext uri="{FF2B5EF4-FFF2-40B4-BE49-F238E27FC236}">
                <a16:creationId xmlns:a16="http://schemas.microsoft.com/office/drawing/2014/main" id="{C8C3CD4B-D09B-E707-7AF0-3F417C2A02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2C987F-4AC6-ABFE-D66F-AB200128746C}"/>
              </a:ext>
            </a:extLst>
          </p:cNvPr>
          <p:cNvSpPr>
            <a:spLocks noGrp="1"/>
          </p:cNvSpPr>
          <p:nvPr>
            <p:ph type="sldNum" sz="quarter" idx="12"/>
          </p:nvPr>
        </p:nvSpPr>
        <p:spPr/>
        <p:txBody>
          <a:bodyPr/>
          <a:lstStyle/>
          <a:p>
            <a:fld id="{6E1518BB-86C2-43D2-9034-5459F8C69451}" type="slidenum">
              <a:rPr lang="en-US" smtClean="0"/>
              <a:t>‹#›</a:t>
            </a:fld>
            <a:endParaRPr lang="en-US"/>
          </a:p>
        </p:txBody>
      </p:sp>
    </p:spTree>
    <p:extLst>
      <p:ext uri="{BB962C8B-B14F-4D97-AF65-F5344CB8AC3E}">
        <p14:creationId xmlns:p14="http://schemas.microsoft.com/office/powerpoint/2010/main" val="35160408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51DDEA-5C9F-9DC6-50E8-719518CA4B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195DFB-8408-D234-C6C9-F9DC0A27A64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F59DA6-2E31-DA06-645F-25AE5F20EA8B}"/>
              </a:ext>
            </a:extLst>
          </p:cNvPr>
          <p:cNvSpPr>
            <a:spLocks noGrp="1"/>
          </p:cNvSpPr>
          <p:nvPr>
            <p:ph type="dt" sz="half" idx="10"/>
          </p:nvPr>
        </p:nvSpPr>
        <p:spPr/>
        <p:txBody>
          <a:bodyPr/>
          <a:lstStyle/>
          <a:p>
            <a:fld id="{3CA2C490-A756-426D-A08E-69C98007A596}" type="datetimeFigureOut">
              <a:rPr lang="en-US" smtClean="0"/>
              <a:t>5/14/25</a:t>
            </a:fld>
            <a:endParaRPr lang="en-US"/>
          </a:p>
        </p:txBody>
      </p:sp>
      <p:sp>
        <p:nvSpPr>
          <p:cNvPr id="5" name="Footer Placeholder 4">
            <a:extLst>
              <a:ext uri="{FF2B5EF4-FFF2-40B4-BE49-F238E27FC236}">
                <a16:creationId xmlns:a16="http://schemas.microsoft.com/office/drawing/2014/main" id="{7FE3E493-2B13-AEB2-BFC9-517BCC9D0C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20BD2A-1973-BA8F-09DD-B015813DB2CB}"/>
              </a:ext>
            </a:extLst>
          </p:cNvPr>
          <p:cNvSpPr>
            <a:spLocks noGrp="1"/>
          </p:cNvSpPr>
          <p:nvPr>
            <p:ph type="sldNum" sz="quarter" idx="12"/>
          </p:nvPr>
        </p:nvSpPr>
        <p:spPr/>
        <p:txBody>
          <a:bodyPr/>
          <a:lstStyle/>
          <a:p>
            <a:fld id="{6E1518BB-86C2-43D2-9034-5459F8C69451}" type="slidenum">
              <a:rPr lang="en-US" smtClean="0"/>
              <a:t>‹#›</a:t>
            </a:fld>
            <a:endParaRPr lang="en-US"/>
          </a:p>
        </p:txBody>
      </p:sp>
    </p:spTree>
    <p:extLst>
      <p:ext uri="{BB962C8B-B14F-4D97-AF65-F5344CB8AC3E}">
        <p14:creationId xmlns:p14="http://schemas.microsoft.com/office/powerpoint/2010/main" val="406089598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B436AD-1B8F-ABAC-B29C-78134EB72C05}"/>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0AEF2FA7-90B0-7629-A228-5E6C9ED8BA5F}"/>
              </a:ext>
            </a:extLst>
          </p:cNvPr>
          <p:cNvSpPr>
            <a:spLocks noGrp="1"/>
          </p:cNvSpPr>
          <p:nvPr>
            <p:ph type="body" idx="1"/>
          </p:nvPr>
        </p:nvSpPr>
        <p:spPr>
          <a:xfrm>
            <a:off x="623888" y="4589464"/>
            <a:ext cx="7886700" cy="1500187"/>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5C5AA20-E632-6FFD-F56C-0FC4451D7906}"/>
              </a:ext>
            </a:extLst>
          </p:cNvPr>
          <p:cNvSpPr>
            <a:spLocks noGrp="1"/>
          </p:cNvSpPr>
          <p:nvPr>
            <p:ph type="dt" sz="half" idx="10"/>
          </p:nvPr>
        </p:nvSpPr>
        <p:spPr/>
        <p:txBody>
          <a:bodyPr/>
          <a:lstStyle/>
          <a:p>
            <a:fld id="{3CA2C490-A756-426D-A08E-69C98007A596}" type="datetimeFigureOut">
              <a:rPr lang="en-US" smtClean="0"/>
              <a:t>5/14/25</a:t>
            </a:fld>
            <a:endParaRPr lang="en-US"/>
          </a:p>
        </p:txBody>
      </p:sp>
      <p:sp>
        <p:nvSpPr>
          <p:cNvPr id="5" name="Footer Placeholder 4">
            <a:extLst>
              <a:ext uri="{FF2B5EF4-FFF2-40B4-BE49-F238E27FC236}">
                <a16:creationId xmlns:a16="http://schemas.microsoft.com/office/drawing/2014/main" id="{6B7601A0-0D8D-C1A4-2B07-968C652503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3FDCEC-DDFA-DB0A-1A5C-208F45C49CC3}"/>
              </a:ext>
            </a:extLst>
          </p:cNvPr>
          <p:cNvSpPr>
            <a:spLocks noGrp="1"/>
          </p:cNvSpPr>
          <p:nvPr>
            <p:ph type="sldNum" sz="quarter" idx="12"/>
          </p:nvPr>
        </p:nvSpPr>
        <p:spPr/>
        <p:txBody>
          <a:bodyPr/>
          <a:lstStyle/>
          <a:p>
            <a:fld id="{6E1518BB-86C2-43D2-9034-5459F8C69451}" type="slidenum">
              <a:rPr lang="en-US" smtClean="0"/>
              <a:t>‹#›</a:t>
            </a:fld>
            <a:endParaRPr lang="en-US"/>
          </a:p>
        </p:txBody>
      </p:sp>
    </p:spTree>
    <p:extLst>
      <p:ext uri="{BB962C8B-B14F-4D97-AF65-F5344CB8AC3E}">
        <p14:creationId xmlns:p14="http://schemas.microsoft.com/office/powerpoint/2010/main" val="822571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8BC11-EEF3-DF83-E2F0-ABD11EA9BFA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0D54AC-01E0-4931-9FB1-0D1EA1B5DA5F}"/>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6488473-88B2-1924-4B06-2E1C5E66F838}"/>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090A7A5-0BAD-0BEF-D345-2FC1D13D2515}"/>
              </a:ext>
            </a:extLst>
          </p:cNvPr>
          <p:cNvSpPr>
            <a:spLocks noGrp="1"/>
          </p:cNvSpPr>
          <p:nvPr>
            <p:ph type="dt" sz="half" idx="10"/>
          </p:nvPr>
        </p:nvSpPr>
        <p:spPr/>
        <p:txBody>
          <a:bodyPr/>
          <a:lstStyle/>
          <a:p>
            <a:fld id="{3CA2C490-A756-426D-A08E-69C98007A596}" type="datetimeFigureOut">
              <a:rPr lang="en-US" smtClean="0"/>
              <a:t>5/14/25</a:t>
            </a:fld>
            <a:endParaRPr lang="en-US"/>
          </a:p>
        </p:txBody>
      </p:sp>
      <p:sp>
        <p:nvSpPr>
          <p:cNvPr id="6" name="Footer Placeholder 5">
            <a:extLst>
              <a:ext uri="{FF2B5EF4-FFF2-40B4-BE49-F238E27FC236}">
                <a16:creationId xmlns:a16="http://schemas.microsoft.com/office/drawing/2014/main" id="{0110E60C-24CD-3322-87A1-7BDDF7B3CED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94CBEC-21F9-B9CE-6750-11E80A4BE1D7}"/>
              </a:ext>
            </a:extLst>
          </p:cNvPr>
          <p:cNvSpPr>
            <a:spLocks noGrp="1"/>
          </p:cNvSpPr>
          <p:nvPr>
            <p:ph type="sldNum" sz="quarter" idx="12"/>
          </p:nvPr>
        </p:nvSpPr>
        <p:spPr/>
        <p:txBody>
          <a:bodyPr/>
          <a:lstStyle/>
          <a:p>
            <a:fld id="{6E1518BB-86C2-43D2-9034-5459F8C69451}" type="slidenum">
              <a:rPr lang="en-US" smtClean="0"/>
              <a:t>‹#›</a:t>
            </a:fld>
            <a:endParaRPr lang="en-US"/>
          </a:p>
        </p:txBody>
      </p:sp>
    </p:spTree>
    <p:extLst>
      <p:ext uri="{BB962C8B-B14F-4D97-AF65-F5344CB8AC3E}">
        <p14:creationId xmlns:p14="http://schemas.microsoft.com/office/powerpoint/2010/main" val="12786321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adOutlined">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228702"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1" name="Content Placeholder 8"/>
          <p:cNvSpPr>
            <a:spLocks noGrp="1"/>
          </p:cNvSpPr>
          <p:nvPr>
            <p:ph sz="quarter" idx="24"/>
          </p:nvPr>
        </p:nvSpPr>
        <p:spPr>
          <a:xfrm>
            <a:off x="228702"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Content Placeholder 8"/>
          <p:cNvSpPr>
            <a:spLocks noGrp="1"/>
          </p:cNvSpPr>
          <p:nvPr>
            <p:ph sz="quarter" idx="25"/>
          </p:nvPr>
        </p:nvSpPr>
        <p:spPr>
          <a:xfrm>
            <a:off x="4648301" y="3850784"/>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8"/>
          <p:cNvSpPr>
            <a:spLocks noGrp="1"/>
          </p:cNvSpPr>
          <p:nvPr>
            <p:ph sz="quarter" idx="26"/>
          </p:nvPr>
        </p:nvSpPr>
        <p:spPr>
          <a:xfrm>
            <a:off x="4648301" y="1290463"/>
            <a:ext cx="4251960" cy="2468880"/>
          </a:xfrm>
          <a:prstGeom prst="rect">
            <a:avLst/>
          </a:prstGeom>
          <a:ln>
            <a:solidFill>
              <a:schemeClr val="tx1"/>
            </a:solidFill>
          </a:ln>
        </p:spPr>
        <p:txBody>
          <a:bodyPr lIns="91430" tIns="45716" rIns="91430" bIns="45716"/>
          <a:lstStyle>
            <a:lvl1pPr marL="174607" indent="-174607">
              <a:spcBef>
                <a:spcPts val="1000"/>
              </a:spcBef>
              <a:buClr>
                <a:schemeClr val="tx1"/>
              </a:buClr>
              <a:buFont typeface="Arial" pitchFamily="34" charset="0"/>
              <a:buChar char="•"/>
              <a:defRPr sz="1400" b="0">
                <a:solidFill>
                  <a:schemeClr val="tx2"/>
                </a:solidFill>
                <a:latin typeface="Arial" pitchFamily="34" charset="0"/>
                <a:cs typeface="Arial" pitchFamily="34" charset="0"/>
              </a:defRPr>
            </a:lvl1pPr>
            <a:lvl2pPr marL="577789" indent="-177781">
              <a:spcBef>
                <a:spcPts val="600"/>
              </a:spcBef>
              <a:buClr>
                <a:schemeClr val="tx1"/>
              </a:buClr>
              <a:buFont typeface="Arial" pitchFamily="34" charset="0"/>
              <a:buChar char="›"/>
              <a:defRPr sz="1200">
                <a:solidFill>
                  <a:schemeClr val="tx2"/>
                </a:solidFill>
                <a:latin typeface="Arial" pitchFamily="34" charset="0"/>
                <a:cs typeface="Arial" pitchFamily="34" charset="0"/>
              </a:defRPr>
            </a:lvl2pPr>
            <a:lvl3pPr marL="860334" indent="-171432">
              <a:spcBef>
                <a:spcPts val="600"/>
              </a:spcBef>
              <a:buClr>
                <a:schemeClr val="tx1"/>
              </a:buClr>
              <a:buFont typeface="Arial" pitchFamily="34" charset="0"/>
              <a:buChar char="»"/>
              <a:defRPr sz="1000">
                <a:solidFill>
                  <a:schemeClr val="tx2"/>
                </a:solidFill>
                <a:latin typeface="Arial" pitchFamily="34" charset="0"/>
                <a:cs typeface="Arial" pitchFamily="34" charset="0"/>
              </a:defRPr>
            </a:lvl3pPr>
            <a:lvl4pPr marL="1142879" indent="-171432">
              <a:spcBef>
                <a:spcPts val="600"/>
              </a:spcBef>
              <a:buClr>
                <a:schemeClr val="tx1"/>
              </a:buClr>
              <a:buFont typeface="Wingdings" panose="05000000000000000000" pitchFamily="2" charset="2"/>
              <a:buChar char="Ø"/>
              <a:defRPr sz="900">
                <a:solidFill>
                  <a:schemeClr val="tx2"/>
                </a:solidFill>
                <a:latin typeface="Arial" pitchFamily="34" charset="0"/>
                <a:cs typeface="Arial" pitchFamily="34" charset="0"/>
              </a:defRPr>
            </a:lvl4pPr>
            <a:lvl5pPr marL="742871"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Title 1"/>
          <p:cNvSpPr>
            <a:spLocks noGrp="1"/>
          </p:cNvSpPr>
          <p:nvPr>
            <p:ph type="title" hasCustomPrompt="1"/>
          </p:nvPr>
        </p:nvSpPr>
        <p:spPr>
          <a:xfrm>
            <a:off x="228701" y="657085"/>
            <a:ext cx="7772400" cy="457200"/>
          </a:xfrm>
          <a:prstGeom prst="rect">
            <a:avLst/>
          </a:prstGeom>
        </p:spPr>
        <p:txBody>
          <a:bodyPr lIns="0" tIns="0" rIns="0" bIns="0" anchor="ctr" anchorCtr="0"/>
          <a:lstStyle>
            <a:lvl1pPr>
              <a:lnSpc>
                <a:spcPct val="100000"/>
              </a:lnSpc>
              <a:defRPr sz="1600" b="1">
                <a:solidFill>
                  <a:srgbClr val="00269E"/>
                </a:solidFill>
                <a:latin typeface="Arial" pitchFamily="34" charset="0"/>
                <a:cs typeface="Arial" pitchFamily="34" charset="0"/>
              </a:defRPr>
            </a:lvl1pPr>
          </a:lstStyle>
          <a:p>
            <a:r>
              <a:rPr lang="en-US" sz="1600"/>
              <a:t>Click to add title</a:t>
            </a:r>
            <a:endParaRPr lang="en-US"/>
          </a:p>
        </p:txBody>
      </p:sp>
      <p:sp>
        <p:nvSpPr>
          <p:cNvPr id="17" name="Text Placeholder 4"/>
          <p:cNvSpPr>
            <a:spLocks noGrp="1"/>
          </p:cNvSpPr>
          <p:nvPr>
            <p:ph type="body" sz="quarter" idx="15" hasCustomPrompt="1"/>
          </p:nvPr>
        </p:nvSpPr>
        <p:spPr>
          <a:xfrm>
            <a:off x="228701" y="400073"/>
            <a:ext cx="7772400" cy="182880"/>
          </a:xfrm>
          <a:prstGeom prst="rect">
            <a:avLst/>
          </a:prstGeom>
        </p:spPr>
        <p:txBody>
          <a:bodyPr lIns="0" tIns="0" rIns="0" bIns="0"/>
          <a:lstStyle>
            <a:lvl1pPr marL="0" indent="0">
              <a:buNone/>
              <a:defRPr sz="1100" b="1" baseline="0">
                <a:solidFill>
                  <a:srgbClr val="00269E"/>
                </a:solidFill>
                <a:latin typeface="Arial" panose="020B0604020202020204" pitchFamily="34" charset="0"/>
                <a:cs typeface="Arial" panose="020B0604020202020204" pitchFamily="34" charset="0"/>
              </a:defRPr>
            </a:lvl1pPr>
          </a:lstStyle>
          <a:p>
            <a:pPr lvl="0"/>
            <a:r>
              <a:rPr lang="en-US"/>
              <a:t>CLICK TO ADD HEADER</a:t>
            </a:r>
          </a:p>
        </p:txBody>
      </p:sp>
    </p:spTree>
    <p:extLst>
      <p:ext uri="{BB962C8B-B14F-4D97-AF65-F5344CB8AC3E}">
        <p14:creationId xmlns:p14="http://schemas.microsoft.com/office/powerpoint/2010/main" val="28777032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C53DE-71CD-42FD-012F-BE1CD10CBCD1}"/>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4DA2349-4A6C-E556-EE13-6DEF1D98C82B}"/>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592ADB83-913B-1C49-CC1E-453BD50A53A7}"/>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7A42BF0-3C42-35A0-8C0A-69EFDACE6D6C}"/>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318B8EDB-F50C-5334-1C16-C9EEB346683F}"/>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D429D5B-0597-7109-D77B-BF3F6D9D917A}"/>
              </a:ext>
            </a:extLst>
          </p:cNvPr>
          <p:cNvSpPr>
            <a:spLocks noGrp="1"/>
          </p:cNvSpPr>
          <p:nvPr>
            <p:ph type="dt" sz="half" idx="10"/>
          </p:nvPr>
        </p:nvSpPr>
        <p:spPr/>
        <p:txBody>
          <a:bodyPr/>
          <a:lstStyle/>
          <a:p>
            <a:fld id="{3CA2C490-A756-426D-A08E-69C98007A596}" type="datetimeFigureOut">
              <a:rPr lang="en-US" smtClean="0"/>
              <a:t>5/14/25</a:t>
            </a:fld>
            <a:endParaRPr lang="en-US"/>
          </a:p>
        </p:txBody>
      </p:sp>
      <p:sp>
        <p:nvSpPr>
          <p:cNvPr id="8" name="Footer Placeholder 7">
            <a:extLst>
              <a:ext uri="{FF2B5EF4-FFF2-40B4-BE49-F238E27FC236}">
                <a16:creationId xmlns:a16="http://schemas.microsoft.com/office/drawing/2014/main" id="{57E9D009-1D1E-16E0-2F56-9B622A08827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D8AE333-6AA8-70D5-C65D-8E945AA9D8B9}"/>
              </a:ext>
            </a:extLst>
          </p:cNvPr>
          <p:cNvSpPr>
            <a:spLocks noGrp="1"/>
          </p:cNvSpPr>
          <p:nvPr>
            <p:ph type="sldNum" sz="quarter" idx="12"/>
          </p:nvPr>
        </p:nvSpPr>
        <p:spPr/>
        <p:txBody>
          <a:bodyPr/>
          <a:lstStyle/>
          <a:p>
            <a:fld id="{6E1518BB-86C2-43D2-9034-5459F8C69451}" type="slidenum">
              <a:rPr lang="en-US" smtClean="0"/>
              <a:t>‹#›</a:t>
            </a:fld>
            <a:endParaRPr lang="en-US"/>
          </a:p>
        </p:txBody>
      </p:sp>
    </p:spTree>
    <p:extLst>
      <p:ext uri="{BB962C8B-B14F-4D97-AF65-F5344CB8AC3E}">
        <p14:creationId xmlns:p14="http://schemas.microsoft.com/office/powerpoint/2010/main" val="299956916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E6365-FFEB-70A6-804A-F5F9B3518CC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086F9C4-67D9-BA60-AF55-C678E90A256D}"/>
              </a:ext>
            </a:extLst>
          </p:cNvPr>
          <p:cNvSpPr>
            <a:spLocks noGrp="1"/>
          </p:cNvSpPr>
          <p:nvPr>
            <p:ph type="dt" sz="half" idx="10"/>
          </p:nvPr>
        </p:nvSpPr>
        <p:spPr/>
        <p:txBody>
          <a:bodyPr/>
          <a:lstStyle/>
          <a:p>
            <a:fld id="{3CA2C490-A756-426D-A08E-69C98007A596}" type="datetimeFigureOut">
              <a:rPr lang="en-US" smtClean="0"/>
              <a:t>5/14/25</a:t>
            </a:fld>
            <a:endParaRPr lang="en-US"/>
          </a:p>
        </p:txBody>
      </p:sp>
      <p:sp>
        <p:nvSpPr>
          <p:cNvPr id="4" name="Footer Placeholder 3">
            <a:extLst>
              <a:ext uri="{FF2B5EF4-FFF2-40B4-BE49-F238E27FC236}">
                <a16:creationId xmlns:a16="http://schemas.microsoft.com/office/drawing/2014/main" id="{1373F854-1ADF-8820-6A13-7AB7560A031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8D5BA8-3341-E512-2747-457DA61042B0}"/>
              </a:ext>
            </a:extLst>
          </p:cNvPr>
          <p:cNvSpPr>
            <a:spLocks noGrp="1"/>
          </p:cNvSpPr>
          <p:nvPr>
            <p:ph type="sldNum" sz="quarter" idx="12"/>
          </p:nvPr>
        </p:nvSpPr>
        <p:spPr/>
        <p:txBody>
          <a:bodyPr/>
          <a:lstStyle/>
          <a:p>
            <a:fld id="{6E1518BB-86C2-43D2-9034-5459F8C69451}" type="slidenum">
              <a:rPr lang="en-US" smtClean="0"/>
              <a:t>‹#›</a:t>
            </a:fld>
            <a:endParaRPr lang="en-US"/>
          </a:p>
        </p:txBody>
      </p:sp>
    </p:spTree>
    <p:extLst>
      <p:ext uri="{BB962C8B-B14F-4D97-AF65-F5344CB8AC3E}">
        <p14:creationId xmlns:p14="http://schemas.microsoft.com/office/powerpoint/2010/main" val="344453765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1AE09C-087C-A98F-045D-910BA19AFCAA}"/>
              </a:ext>
            </a:extLst>
          </p:cNvPr>
          <p:cNvSpPr>
            <a:spLocks noGrp="1"/>
          </p:cNvSpPr>
          <p:nvPr>
            <p:ph type="dt" sz="half" idx="10"/>
          </p:nvPr>
        </p:nvSpPr>
        <p:spPr/>
        <p:txBody>
          <a:bodyPr/>
          <a:lstStyle/>
          <a:p>
            <a:fld id="{3CA2C490-A756-426D-A08E-69C98007A596}" type="datetimeFigureOut">
              <a:rPr lang="en-US" smtClean="0"/>
              <a:t>5/14/25</a:t>
            </a:fld>
            <a:endParaRPr lang="en-US"/>
          </a:p>
        </p:txBody>
      </p:sp>
      <p:sp>
        <p:nvSpPr>
          <p:cNvPr id="3" name="Footer Placeholder 2">
            <a:extLst>
              <a:ext uri="{FF2B5EF4-FFF2-40B4-BE49-F238E27FC236}">
                <a16:creationId xmlns:a16="http://schemas.microsoft.com/office/drawing/2014/main" id="{8EC8675D-81C9-7A43-7CE8-62CF1EB0D01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7C145D7-93A7-6C36-025F-F49421D8823E}"/>
              </a:ext>
            </a:extLst>
          </p:cNvPr>
          <p:cNvSpPr>
            <a:spLocks noGrp="1"/>
          </p:cNvSpPr>
          <p:nvPr>
            <p:ph type="sldNum" sz="quarter" idx="12"/>
          </p:nvPr>
        </p:nvSpPr>
        <p:spPr/>
        <p:txBody>
          <a:bodyPr/>
          <a:lstStyle/>
          <a:p>
            <a:fld id="{6E1518BB-86C2-43D2-9034-5459F8C69451}" type="slidenum">
              <a:rPr lang="en-US" smtClean="0"/>
              <a:t>‹#›</a:t>
            </a:fld>
            <a:endParaRPr lang="en-US"/>
          </a:p>
        </p:txBody>
      </p:sp>
    </p:spTree>
    <p:extLst>
      <p:ext uri="{BB962C8B-B14F-4D97-AF65-F5344CB8AC3E}">
        <p14:creationId xmlns:p14="http://schemas.microsoft.com/office/powerpoint/2010/main" val="29568695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05454-6CFF-CB09-6105-91236CAD933D}"/>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31930B39-4C25-9CDA-2B35-97F094AA23D4}"/>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F8B454C-EF43-304A-F2B8-729306B78D71}"/>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D49BC67C-89F9-ACB4-C56A-0BED75F70FC8}"/>
              </a:ext>
            </a:extLst>
          </p:cNvPr>
          <p:cNvSpPr>
            <a:spLocks noGrp="1"/>
          </p:cNvSpPr>
          <p:nvPr>
            <p:ph type="dt" sz="half" idx="10"/>
          </p:nvPr>
        </p:nvSpPr>
        <p:spPr/>
        <p:txBody>
          <a:bodyPr/>
          <a:lstStyle/>
          <a:p>
            <a:fld id="{3CA2C490-A756-426D-A08E-69C98007A596}" type="datetimeFigureOut">
              <a:rPr lang="en-US" smtClean="0"/>
              <a:t>5/14/25</a:t>
            </a:fld>
            <a:endParaRPr lang="en-US"/>
          </a:p>
        </p:txBody>
      </p:sp>
      <p:sp>
        <p:nvSpPr>
          <p:cNvPr id="6" name="Footer Placeholder 5">
            <a:extLst>
              <a:ext uri="{FF2B5EF4-FFF2-40B4-BE49-F238E27FC236}">
                <a16:creationId xmlns:a16="http://schemas.microsoft.com/office/drawing/2014/main" id="{5D856D09-8AE3-AC9A-2D6D-3A008B7A64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2CC8B5-B870-AC72-E2EC-2AF42867ED14}"/>
              </a:ext>
            </a:extLst>
          </p:cNvPr>
          <p:cNvSpPr>
            <a:spLocks noGrp="1"/>
          </p:cNvSpPr>
          <p:nvPr>
            <p:ph type="sldNum" sz="quarter" idx="12"/>
          </p:nvPr>
        </p:nvSpPr>
        <p:spPr/>
        <p:txBody>
          <a:bodyPr/>
          <a:lstStyle/>
          <a:p>
            <a:fld id="{6E1518BB-86C2-43D2-9034-5459F8C69451}" type="slidenum">
              <a:rPr lang="en-US" smtClean="0"/>
              <a:t>‹#›</a:t>
            </a:fld>
            <a:endParaRPr lang="en-US"/>
          </a:p>
        </p:txBody>
      </p:sp>
    </p:spTree>
    <p:extLst>
      <p:ext uri="{BB962C8B-B14F-4D97-AF65-F5344CB8AC3E}">
        <p14:creationId xmlns:p14="http://schemas.microsoft.com/office/powerpoint/2010/main" val="1625711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7174B-8727-C3E2-6894-F2DFB7E63DEB}"/>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A07DE41B-952F-DAB7-6927-4B5A5897CE7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1050F24D-95C4-B1EC-9AD6-8C010AAEC52E}"/>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6DD27FF8-BBB1-4D7F-5515-CEB24070D1A3}"/>
              </a:ext>
            </a:extLst>
          </p:cNvPr>
          <p:cNvSpPr>
            <a:spLocks noGrp="1"/>
          </p:cNvSpPr>
          <p:nvPr>
            <p:ph type="dt" sz="half" idx="10"/>
          </p:nvPr>
        </p:nvSpPr>
        <p:spPr/>
        <p:txBody>
          <a:bodyPr/>
          <a:lstStyle/>
          <a:p>
            <a:fld id="{3CA2C490-A756-426D-A08E-69C98007A596}" type="datetimeFigureOut">
              <a:rPr lang="en-US" smtClean="0"/>
              <a:t>5/14/25</a:t>
            </a:fld>
            <a:endParaRPr lang="en-US"/>
          </a:p>
        </p:txBody>
      </p:sp>
      <p:sp>
        <p:nvSpPr>
          <p:cNvPr id="6" name="Footer Placeholder 5">
            <a:extLst>
              <a:ext uri="{FF2B5EF4-FFF2-40B4-BE49-F238E27FC236}">
                <a16:creationId xmlns:a16="http://schemas.microsoft.com/office/drawing/2014/main" id="{6BCDEA65-7F84-DA01-F610-6827DFEA9CF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EFEE17-5A11-148E-A9EF-0E461CD0067E}"/>
              </a:ext>
            </a:extLst>
          </p:cNvPr>
          <p:cNvSpPr>
            <a:spLocks noGrp="1"/>
          </p:cNvSpPr>
          <p:nvPr>
            <p:ph type="sldNum" sz="quarter" idx="12"/>
          </p:nvPr>
        </p:nvSpPr>
        <p:spPr/>
        <p:txBody>
          <a:bodyPr/>
          <a:lstStyle/>
          <a:p>
            <a:fld id="{6E1518BB-86C2-43D2-9034-5459F8C69451}" type="slidenum">
              <a:rPr lang="en-US" smtClean="0"/>
              <a:t>‹#›</a:t>
            </a:fld>
            <a:endParaRPr lang="en-US"/>
          </a:p>
        </p:txBody>
      </p:sp>
    </p:spTree>
    <p:extLst>
      <p:ext uri="{BB962C8B-B14F-4D97-AF65-F5344CB8AC3E}">
        <p14:creationId xmlns:p14="http://schemas.microsoft.com/office/powerpoint/2010/main" val="15832421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42850-7CC3-8FB8-58B8-59F1C052297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DDE9F28-DD01-4FF5-0C5C-CEC99BABC14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94F576-9B9E-BAAC-71C3-10660CEB3A64}"/>
              </a:ext>
            </a:extLst>
          </p:cNvPr>
          <p:cNvSpPr>
            <a:spLocks noGrp="1"/>
          </p:cNvSpPr>
          <p:nvPr>
            <p:ph type="dt" sz="half" idx="10"/>
          </p:nvPr>
        </p:nvSpPr>
        <p:spPr/>
        <p:txBody>
          <a:bodyPr/>
          <a:lstStyle/>
          <a:p>
            <a:fld id="{3CA2C490-A756-426D-A08E-69C98007A596}" type="datetimeFigureOut">
              <a:rPr lang="en-US" smtClean="0"/>
              <a:t>5/14/25</a:t>
            </a:fld>
            <a:endParaRPr lang="en-US"/>
          </a:p>
        </p:txBody>
      </p:sp>
      <p:sp>
        <p:nvSpPr>
          <p:cNvPr id="5" name="Footer Placeholder 4">
            <a:extLst>
              <a:ext uri="{FF2B5EF4-FFF2-40B4-BE49-F238E27FC236}">
                <a16:creationId xmlns:a16="http://schemas.microsoft.com/office/drawing/2014/main" id="{C786D579-2FEF-850E-CD7C-C26448008A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4A9968-3677-031A-63B7-7418D179DDFC}"/>
              </a:ext>
            </a:extLst>
          </p:cNvPr>
          <p:cNvSpPr>
            <a:spLocks noGrp="1"/>
          </p:cNvSpPr>
          <p:nvPr>
            <p:ph type="sldNum" sz="quarter" idx="12"/>
          </p:nvPr>
        </p:nvSpPr>
        <p:spPr/>
        <p:txBody>
          <a:bodyPr/>
          <a:lstStyle/>
          <a:p>
            <a:fld id="{6E1518BB-86C2-43D2-9034-5459F8C69451}" type="slidenum">
              <a:rPr lang="en-US" smtClean="0"/>
              <a:t>‹#›</a:t>
            </a:fld>
            <a:endParaRPr lang="en-US"/>
          </a:p>
        </p:txBody>
      </p:sp>
    </p:spTree>
    <p:extLst>
      <p:ext uri="{BB962C8B-B14F-4D97-AF65-F5344CB8AC3E}">
        <p14:creationId xmlns:p14="http://schemas.microsoft.com/office/powerpoint/2010/main" val="203695467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2AD5C2A-61F9-9F78-281C-DBA44A34AA80}"/>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7083ABB-A96E-7305-BBB4-B63E2267EA16}"/>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5BD806-E819-E6C3-57EA-D75311D58D83}"/>
              </a:ext>
            </a:extLst>
          </p:cNvPr>
          <p:cNvSpPr>
            <a:spLocks noGrp="1"/>
          </p:cNvSpPr>
          <p:nvPr>
            <p:ph type="dt" sz="half" idx="10"/>
          </p:nvPr>
        </p:nvSpPr>
        <p:spPr/>
        <p:txBody>
          <a:bodyPr/>
          <a:lstStyle/>
          <a:p>
            <a:fld id="{3CA2C490-A756-426D-A08E-69C98007A596}" type="datetimeFigureOut">
              <a:rPr lang="en-US" smtClean="0"/>
              <a:t>5/14/25</a:t>
            </a:fld>
            <a:endParaRPr lang="en-US"/>
          </a:p>
        </p:txBody>
      </p:sp>
      <p:sp>
        <p:nvSpPr>
          <p:cNvPr id="5" name="Footer Placeholder 4">
            <a:extLst>
              <a:ext uri="{FF2B5EF4-FFF2-40B4-BE49-F238E27FC236}">
                <a16:creationId xmlns:a16="http://schemas.microsoft.com/office/drawing/2014/main" id="{9BA9A88C-7ABE-2309-F6E0-043E8B5453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C114F5-B1ED-0026-9EE3-129CF022B9A5}"/>
              </a:ext>
            </a:extLst>
          </p:cNvPr>
          <p:cNvSpPr>
            <a:spLocks noGrp="1"/>
          </p:cNvSpPr>
          <p:nvPr>
            <p:ph type="sldNum" sz="quarter" idx="12"/>
          </p:nvPr>
        </p:nvSpPr>
        <p:spPr/>
        <p:txBody>
          <a:bodyPr/>
          <a:lstStyle/>
          <a:p>
            <a:fld id="{6E1518BB-86C2-43D2-9034-5459F8C69451}" type="slidenum">
              <a:rPr lang="en-US" smtClean="0"/>
              <a:t>‹#›</a:t>
            </a:fld>
            <a:endParaRPr lang="en-US"/>
          </a:p>
        </p:txBody>
      </p:sp>
    </p:spTree>
    <p:extLst>
      <p:ext uri="{BB962C8B-B14F-4D97-AF65-F5344CB8AC3E}">
        <p14:creationId xmlns:p14="http://schemas.microsoft.com/office/powerpoint/2010/main" val="15141391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Freeform: Shape 14">
            <a:extLst>
              <a:ext uri="{FF2B5EF4-FFF2-40B4-BE49-F238E27FC236}">
                <a16:creationId xmlns:a16="http://schemas.microsoft.com/office/drawing/2014/main" id="{B5D5B257-C98E-B0DA-9E3F-C9309303B85D}"/>
              </a:ext>
            </a:extLst>
          </p:cNvPr>
          <p:cNvSpPr/>
          <p:nvPr userDrawn="1"/>
        </p:nvSpPr>
        <p:spPr>
          <a:xfrm>
            <a:off x="7166206" y="2134282"/>
            <a:ext cx="1765553" cy="2273886"/>
          </a:xfrm>
          <a:custGeom>
            <a:avLst/>
            <a:gdLst>
              <a:gd name="connsiteX0" fmla="*/ 1234735 w 2354071"/>
              <a:gd name="connsiteY0" fmla="*/ 614 h 2273886"/>
              <a:gd name="connsiteX1" fmla="*/ 2282741 w 2354071"/>
              <a:gd name="connsiteY1" fmla="*/ 333960 h 2273886"/>
              <a:gd name="connsiteX2" fmla="*/ 1552501 w 2354071"/>
              <a:gd name="connsiteY2" fmla="*/ 2246018 h 2273886"/>
              <a:gd name="connsiteX3" fmla="*/ 73179 w 2354071"/>
              <a:gd name="connsiteY3" fmla="*/ 789465 h 2273886"/>
              <a:gd name="connsiteX4" fmla="*/ 1234735 w 2354071"/>
              <a:gd name="connsiteY4" fmla="*/ 614 h 2273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4071" h="2273886">
                <a:moveTo>
                  <a:pt x="1234735" y="614"/>
                </a:moveTo>
                <a:cubicBezTo>
                  <a:pt x="1706563" y="13081"/>
                  <a:pt x="2159465" y="212581"/>
                  <a:pt x="2282741" y="333960"/>
                </a:cubicBezTo>
                <a:cubicBezTo>
                  <a:pt x="2529295" y="576719"/>
                  <a:pt x="2100380" y="2110538"/>
                  <a:pt x="1552501" y="2246018"/>
                </a:cubicBezTo>
                <a:cubicBezTo>
                  <a:pt x="1004623" y="2381498"/>
                  <a:pt x="-324776" y="2042968"/>
                  <a:pt x="73179" y="789465"/>
                </a:cubicBezTo>
                <a:cubicBezTo>
                  <a:pt x="272156" y="162713"/>
                  <a:pt x="762908" y="-11852"/>
                  <a:pt x="1234735" y="614"/>
                </a:cubicBezTo>
                <a:close/>
              </a:path>
            </a:pathLst>
          </a:cu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3" name="Freeform: Shape 12">
            <a:extLst>
              <a:ext uri="{FF2B5EF4-FFF2-40B4-BE49-F238E27FC236}">
                <a16:creationId xmlns:a16="http://schemas.microsoft.com/office/drawing/2014/main" id="{61F3B831-39D2-F3BA-A6AA-9E6F43CE56B3}"/>
              </a:ext>
            </a:extLst>
          </p:cNvPr>
          <p:cNvSpPr/>
          <p:nvPr userDrawn="1"/>
        </p:nvSpPr>
        <p:spPr>
          <a:xfrm>
            <a:off x="5380580" y="555951"/>
            <a:ext cx="3086994" cy="3687882"/>
          </a:xfrm>
          <a:custGeom>
            <a:avLst/>
            <a:gdLst>
              <a:gd name="connsiteX0" fmla="*/ 2095480 w 4115992"/>
              <a:gd name="connsiteY0" fmla="*/ 1594 h 3687882"/>
              <a:gd name="connsiteX1" fmla="*/ 3212545 w 4115992"/>
              <a:gd name="connsiteY1" fmla="*/ 237897 h 3687882"/>
              <a:gd name="connsiteX2" fmla="*/ 3613312 w 4115992"/>
              <a:gd name="connsiteY2" fmla="*/ 3637982 h 3687882"/>
              <a:gd name="connsiteX3" fmla="*/ 13818 w 4115992"/>
              <a:gd name="connsiteY3" fmla="*/ 1294433 h 3687882"/>
              <a:gd name="connsiteX4" fmla="*/ 2095480 w 4115992"/>
              <a:gd name="connsiteY4" fmla="*/ 1594 h 36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5992" h="3687882">
                <a:moveTo>
                  <a:pt x="2095480" y="1594"/>
                </a:moveTo>
                <a:cubicBezTo>
                  <a:pt x="2558738" y="-12214"/>
                  <a:pt x="2980502" y="63487"/>
                  <a:pt x="3212545" y="237897"/>
                </a:cubicBezTo>
                <a:cubicBezTo>
                  <a:pt x="3955083" y="796011"/>
                  <a:pt x="4599491" y="3291774"/>
                  <a:pt x="3613312" y="3637982"/>
                </a:cubicBezTo>
                <a:cubicBezTo>
                  <a:pt x="2627132" y="3984191"/>
                  <a:pt x="242913" y="2456409"/>
                  <a:pt x="13818" y="1294433"/>
                </a:cubicBezTo>
                <a:cubicBezTo>
                  <a:pt x="-143685" y="495575"/>
                  <a:pt x="1076313" y="31973"/>
                  <a:pt x="2095480" y="1594"/>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1" name="Freeform: Shape 10">
            <a:extLst>
              <a:ext uri="{FF2B5EF4-FFF2-40B4-BE49-F238E27FC236}">
                <a16:creationId xmlns:a16="http://schemas.microsoft.com/office/drawing/2014/main" id="{0A72116D-6F86-BD64-4466-FC5B3E593B08}"/>
              </a:ext>
            </a:extLst>
          </p:cNvPr>
          <p:cNvSpPr/>
          <p:nvPr userDrawn="1"/>
        </p:nvSpPr>
        <p:spPr>
          <a:xfrm>
            <a:off x="5357448" y="4108165"/>
            <a:ext cx="1410308" cy="1898594"/>
          </a:xfrm>
          <a:custGeom>
            <a:avLst/>
            <a:gdLst>
              <a:gd name="connsiteX0" fmla="*/ 831964 w 1880411"/>
              <a:gd name="connsiteY0" fmla="*/ 1 h 1898594"/>
              <a:gd name="connsiteX1" fmla="*/ 1624530 w 1880411"/>
              <a:gd name="connsiteY1" fmla="*/ 228196 h 1898594"/>
              <a:gd name="connsiteX2" fmla="*/ 1527767 w 1880411"/>
              <a:gd name="connsiteY2" fmla="*/ 1893513 h 1898594"/>
              <a:gd name="connsiteX3" fmla="*/ 70 w 1880411"/>
              <a:gd name="connsiteY3" fmla="*/ 463167 h 1898594"/>
              <a:gd name="connsiteX4" fmla="*/ 831964 w 1880411"/>
              <a:gd name="connsiteY4" fmla="*/ 1 h 1898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0411" h="1898594">
                <a:moveTo>
                  <a:pt x="831964" y="1"/>
                </a:moveTo>
                <a:cubicBezTo>
                  <a:pt x="1159479" y="-120"/>
                  <a:pt x="1489430" y="83433"/>
                  <a:pt x="1624530" y="228196"/>
                </a:cubicBezTo>
                <a:cubicBezTo>
                  <a:pt x="1933330" y="559082"/>
                  <a:pt x="2030335" y="1811248"/>
                  <a:pt x="1527767" y="1893513"/>
                </a:cubicBezTo>
                <a:cubicBezTo>
                  <a:pt x="1025200" y="1975779"/>
                  <a:pt x="11204" y="1040120"/>
                  <a:pt x="70" y="463167"/>
                </a:cubicBezTo>
                <a:cubicBezTo>
                  <a:pt x="-6193" y="138631"/>
                  <a:pt x="410873" y="157"/>
                  <a:pt x="831964" y="1"/>
                </a:cubicBezTo>
                <a:close/>
              </a:path>
            </a:pathLst>
          </a:cu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 name="Title 1">
            <a:extLst>
              <a:ext uri="{FF2B5EF4-FFF2-40B4-BE49-F238E27FC236}">
                <a16:creationId xmlns:a16="http://schemas.microsoft.com/office/drawing/2014/main" id="{494248F2-5264-4601-AA0B-6C092F77F2DD}"/>
              </a:ext>
            </a:extLst>
          </p:cNvPr>
          <p:cNvSpPr>
            <a:spLocks noGrp="1"/>
          </p:cNvSpPr>
          <p:nvPr>
            <p:ph type="ctrTitle"/>
          </p:nvPr>
        </p:nvSpPr>
        <p:spPr>
          <a:xfrm>
            <a:off x="589788" y="1774335"/>
            <a:ext cx="4512564" cy="1883664"/>
          </a:xfrm>
        </p:spPr>
        <p:txBody>
          <a:bodyPr lIns="91440" tIns="45720" rIns="91440" bIns="45720" anchor="b">
            <a:noAutofit/>
          </a:bodyPr>
          <a:lstStyle>
            <a:lvl1pPr algn="l">
              <a:defRPr sz="4500"/>
            </a:lvl1pPr>
          </a:lstStyle>
          <a:p>
            <a:r>
              <a:rPr lang="en-US"/>
              <a:t>Click to edit Master title sty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p:nvPr>
        </p:nvSpPr>
        <p:spPr>
          <a:xfrm>
            <a:off x="589788" y="4133668"/>
            <a:ext cx="4512564" cy="466344"/>
          </a:xfrm>
        </p:spPr>
        <p:txBody>
          <a:bodyPr>
            <a:noAutofit/>
          </a:bodyPr>
          <a:lstStyle>
            <a:lvl1pPr marL="0" indent="0" algn="l">
              <a:buNone/>
              <a:defRPr sz="1800" b="1">
                <a:latin typeface="Source Sans Pro" panose="020B0503030403020204" pitchFamily="34" charset="0"/>
                <a:ea typeface="Source Sans Pro" panose="020B0503030403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grpSp>
        <p:nvGrpSpPr>
          <p:cNvPr id="16" name="Group 15">
            <a:extLst>
              <a:ext uri="{FF2B5EF4-FFF2-40B4-BE49-F238E27FC236}">
                <a16:creationId xmlns:a16="http://schemas.microsoft.com/office/drawing/2014/main" id="{D32690B4-57BF-C0BE-FA3C-73FE216F0B82}"/>
              </a:ext>
            </a:extLst>
          </p:cNvPr>
          <p:cNvGrpSpPr/>
          <p:nvPr userDrawn="1"/>
        </p:nvGrpSpPr>
        <p:grpSpPr>
          <a:xfrm>
            <a:off x="641805" y="3736017"/>
            <a:ext cx="3711832" cy="147360"/>
            <a:chOff x="3862913" y="5584851"/>
            <a:chExt cx="3422601" cy="147360"/>
          </a:xfrm>
        </p:grpSpPr>
        <p:sp>
          <p:nvSpPr>
            <p:cNvPr id="17" name="Rectangle 16">
              <a:extLst>
                <a:ext uri="{FF2B5EF4-FFF2-40B4-BE49-F238E27FC236}">
                  <a16:creationId xmlns:a16="http://schemas.microsoft.com/office/drawing/2014/main" id="{3483EB04-C33A-D643-DD44-2E8C3C612F33}"/>
                </a:ext>
              </a:extLst>
            </p:cNvPr>
            <p:cNvSpPr/>
            <p:nvPr/>
          </p:nvSpPr>
          <p:spPr>
            <a:xfrm>
              <a:off x="3897354" y="5609493"/>
              <a:ext cx="661045" cy="1078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18" name="Rectangle 17">
              <a:extLst>
                <a:ext uri="{FF2B5EF4-FFF2-40B4-BE49-F238E27FC236}">
                  <a16:creationId xmlns:a16="http://schemas.microsoft.com/office/drawing/2014/main" id="{64EC4960-3667-21EF-9D96-D0357F9D5B70}"/>
                </a:ext>
              </a:extLst>
            </p:cNvPr>
            <p:cNvSpPr/>
            <p:nvPr/>
          </p:nvSpPr>
          <p:spPr>
            <a:xfrm>
              <a:off x="5222038" y="5613190"/>
              <a:ext cx="661045" cy="10784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19" name="Rectangle 18">
              <a:extLst>
                <a:ext uri="{FF2B5EF4-FFF2-40B4-BE49-F238E27FC236}">
                  <a16:creationId xmlns:a16="http://schemas.microsoft.com/office/drawing/2014/main" id="{82AA39EB-8982-D84E-84D7-9AC369FCB451}"/>
                </a:ext>
              </a:extLst>
            </p:cNvPr>
            <p:cNvSpPr/>
            <p:nvPr/>
          </p:nvSpPr>
          <p:spPr>
            <a:xfrm>
              <a:off x="6544127" y="5604473"/>
              <a:ext cx="661045" cy="1078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20" name="Rectangle 19">
              <a:extLst>
                <a:ext uri="{FF2B5EF4-FFF2-40B4-BE49-F238E27FC236}">
                  <a16:creationId xmlns:a16="http://schemas.microsoft.com/office/drawing/2014/main" id="{A064C83F-E8F6-A0DF-E60F-A0AF0B0C72B7}"/>
                </a:ext>
              </a:extLst>
            </p:cNvPr>
            <p:cNvSpPr/>
            <p:nvPr/>
          </p:nvSpPr>
          <p:spPr>
            <a:xfrm>
              <a:off x="5883081" y="5602319"/>
              <a:ext cx="661045" cy="1078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21" name="Rectangle 20">
              <a:extLst>
                <a:ext uri="{FF2B5EF4-FFF2-40B4-BE49-F238E27FC236}">
                  <a16:creationId xmlns:a16="http://schemas.microsoft.com/office/drawing/2014/main" id="{6FE9D1C1-CC9B-F1C1-7498-F913E559E119}"/>
                </a:ext>
              </a:extLst>
            </p:cNvPr>
            <p:cNvSpPr/>
            <p:nvPr/>
          </p:nvSpPr>
          <p:spPr>
            <a:xfrm>
              <a:off x="4559264" y="5609493"/>
              <a:ext cx="661045" cy="10784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solidFill>
                  <a:srgbClr val="4DB9C7"/>
                </a:solidFill>
              </a:endParaRPr>
            </a:p>
          </p:txBody>
        </p:sp>
        <p:sp>
          <p:nvSpPr>
            <p:cNvPr id="22" name="Rectangle 21">
              <a:extLst>
                <a:ext uri="{FF2B5EF4-FFF2-40B4-BE49-F238E27FC236}">
                  <a16:creationId xmlns:a16="http://schemas.microsoft.com/office/drawing/2014/main" id="{CDF4EF94-285C-826B-4425-3849E693C587}"/>
                </a:ext>
              </a:extLst>
            </p:cNvPr>
            <p:cNvSpPr/>
            <p:nvPr/>
          </p:nvSpPr>
          <p:spPr>
            <a:xfrm>
              <a:off x="3862913" y="5584851"/>
              <a:ext cx="3420960" cy="54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3" name="Rectangle 22">
              <a:extLst>
                <a:ext uri="{FF2B5EF4-FFF2-40B4-BE49-F238E27FC236}">
                  <a16:creationId xmlns:a16="http://schemas.microsoft.com/office/drawing/2014/main" id="{89C3254F-05F6-4396-9DC0-8191AAC00760}"/>
                </a:ext>
              </a:extLst>
            </p:cNvPr>
            <p:cNvSpPr/>
            <p:nvPr/>
          </p:nvSpPr>
          <p:spPr>
            <a:xfrm>
              <a:off x="3864554" y="5677949"/>
              <a:ext cx="3420960" cy="54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pSp>
      <p:sp>
        <p:nvSpPr>
          <p:cNvPr id="28" name="Picture Placeholder 27">
            <a:extLst>
              <a:ext uri="{FF2B5EF4-FFF2-40B4-BE49-F238E27FC236}">
                <a16:creationId xmlns:a16="http://schemas.microsoft.com/office/drawing/2014/main" id="{287B9F6A-0CB7-4B45-9ADB-F3C42D9441B1}"/>
              </a:ext>
            </a:extLst>
          </p:cNvPr>
          <p:cNvSpPr>
            <a:spLocks noGrp="1"/>
          </p:cNvSpPr>
          <p:nvPr>
            <p:ph type="pic" sz="quarter" idx="10"/>
          </p:nvPr>
        </p:nvSpPr>
        <p:spPr>
          <a:xfrm>
            <a:off x="4860865" y="1065229"/>
            <a:ext cx="3629165" cy="4396060"/>
          </a:xfrm>
          <a:custGeom>
            <a:avLst/>
            <a:gdLst>
              <a:gd name="connsiteX0" fmla="*/ 2849362 w 4838886"/>
              <a:gd name="connsiteY0" fmla="*/ 329 h 4396060"/>
              <a:gd name="connsiteX1" fmla="*/ 3053469 w 4838886"/>
              <a:gd name="connsiteY1" fmla="*/ 32123 h 4396060"/>
              <a:gd name="connsiteX2" fmla="*/ 4034466 w 4838886"/>
              <a:gd name="connsiteY2" fmla="*/ 3833389 h 4396060"/>
              <a:gd name="connsiteX3" fmla="*/ 8680 w 4838886"/>
              <a:gd name="connsiteY3" fmla="*/ 2421584 h 4396060"/>
              <a:gd name="connsiteX4" fmla="*/ 2849362 w 4838886"/>
              <a:gd name="connsiteY4" fmla="*/ 329 h 4396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38886" h="4396060">
                <a:moveTo>
                  <a:pt x="2849362" y="329"/>
                </a:moveTo>
                <a:cubicBezTo>
                  <a:pt x="2921387" y="2240"/>
                  <a:pt x="2989709" y="12527"/>
                  <a:pt x="3053469" y="32123"/>
                </a:cubicBezTo>
                <a:cubicBezTo>
                  <a:pt x="4073625" y="345656"/>
                  <a:pt x="5899598" y="2188300"/>
                  <a:pt x="4034466" y="3833389"/>
                </a:cubicBezTo>
                <a:cubicBezTo>
                  <a:pt x="2169335" y="5478478"/>
                  <a:pt x="172179" y="3055128"/>
                  <a:pt x="8680" y="2421584"/>
                </a:cubicBezTo>
                <a:cubicBezTo>
                  <a:pt x="-144600" y="1827637"/>
                  <a:pt x="1768983" y="-28337"/>
                  <a:pt x="2849362" y="329"/>
                </a:cubicBezTo>
                <a:close/>
              </a:path>
            </a:pathLst>
          </a:custGeom>
          <a:solidFill>
            <a:schemeClr val="bg1">
              <a:lumMod val="95000"/>
            </a:schemeClr>
          </a:solidFill>
        </p:spPr>
        <p:txBody>
          <a:bodyPr wrap="square" anchor="ctr">
            <a:noAutofit/>
          </a:bodyPr>
          <a:lstStyle>
            <a:lvl1pPr marL="0" indent="0" algn="ctr">
              <a:buNone/>
              <a:defRPr/>
            </a:lvl1pPr>
          </a:lstStyle>
          <a:p>
            <a:r>
              <a:rPr lang="en-US"/>
              <a:t>Click icon to add picture</a:t>
            </a:r>
          </a:p>
        </p:txBody>
      </p:sp>
      <p:sp>
        <p:nvSpPr>
          <p:cNvPr id="5" name="Text Placeholder 39">
            <a:extLst>
              <a:ext uri="{FF2B5EF4-FFF2-40B4-BE49-F238E27FC236}">
                <a16:creationId xmlns:a16="http://schemas.microsoft.com/office/drawing/2014/main" id="{F3C46320-935E-5B4D-560B-5D1677F21D49}"/>
              </a:ext>
            </a:extLst>
          </p:cNvPr>
          <p:cNvSpPr>
            <a:spLocks noGrp="1"/>
          </p:cNvSpPr>
          <p:nvPr>
            <p:ph type="body" sz="quarter" idx="22"/>
          </p:nvPr>
        </p:nvSpPr>
        <p:spPr>
          <a:xfrm>
            <a:off x="589788" y="4505372"/>
            <a:ext cx="4512563" cy="448056"/>
          </a:xfrm>
        </p:spPr>
        <p:txBody>
          <a:bodyPr anchor="t">
            <a:noAutofit/>
          </a:bodyPr>
          <a:lstStyle>
            <a:lvl1pPr marL="0" indent="0" algn="l">
              <a:lnSpc>
                <a:spcPct val="100000"/>
              </a:lnSpc>
              <a:buNone/>
              <a:defRPr sz="1350" b="0">
                <a:solidFill>
                  <a:schemeClr val="tx2"/>
                </a:solidFill>
                <a:latin typeface="+mn-lt"/>
                <a:ea typeface="Source Sans Pro" panose="020B0503030403020204" pitchFamily="34" charset="0"/>
              </a:defRPr>
            </a:lvl1pPr>
          </a:lstStyle>
          <a:p>
            <a:pPr lvl="0"/>
            <a:r>
              <a:rPr lang="en-US"/>
              <a:t>Click to edit Master text styles</a:t>
            </a:r>
          </a:p>
        </p:txBody>
      </p:sp>
    </p:spTree>
    <p:extLst>
      <p:ext uri="{BB962C8B-B14F-4D97-AF65-F5344CB8AC3E}">
        <p14:creationId xmlns:p14="http://schemas.microsoft.com/office/powerpoint/2010/main" val="10561581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97974-B93C-4C96-B3F6-F69E3D6DE6CA}"/>
              </a:ext>
            </a:extLst>
          </p:cNvPr>
          <p:cNvSpPr>
            <a:spLocks noGrp="1"/>
          </p:cNvSpPr>
          <p:nvPr>
            <p:ph type="title"/>
          </p:nvPr>
        </p:nvSpPr>
        <p:spPr>
          <a:xfrm>
            <a:off x="4711446" y="1124712"/>
            <a:ext cx="4149090" cy="960120"/>
          </a:xfrm>
        </p:spPr>
        <p:txBody>
          <a:bodyPr anchor="b">
            <a:noAutofit/>
          </a:bodyPr>
          <a:lstStyle>
            <a:lvl1pPr>
              <a:lnSpc>
                <a:spcPct val="170000"/>
              </a:lnSpc>
              <a:defRPr sz="3600"/>
            </a:lvl1pPr>
          </a:lstStyle>
          <a:p>
            <a:r>
              <a:rPr lang="en-US"/>
              <a:t>Click to edit Master title sty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p:nvPr>
        </p:nvSpPr>
        <p:spPr>
          <a:xfrm>
            <a:off x="4677156" y="2286000"/>
            <a:ext cx="4149091" cy="3831328"/>
          </a:xfrm>
        </p:spPr>
        <p:txBody>
          <a:bodyPr>
            <a:noAutofit/>
          </a:bodyPr>
          <a:lstStyle>
            <a:lvl1pPr>
              <a:spcBef>
                <a:spcPts val="750"/>
              </a:spcBef>
              <a:buClr>
                <a:schemeClr val="accent4"/>
              </a:buClr>
              <a:defRPr sz="1800"/>
            </a:lvl1pPr>
            <a:lvl2pPr>
              <a:buClr>
                <a:schemeClr val="accent4"/>
              </a:buClr>
              <a:defRPr sz="1500"/>
            </a:lvl2pPr>
            <a:lvl3pPr>
              <a:buClr>
                <a:schemeClr val="accent4"/>
              </a:buClr>
              <a:defRPr sz="1350"/>
            </a:lvl3pPr>
            <a:lvl4pPr>
              <a:buClr>
                <a:schemeClr val="accent4"/>
              </a:buClr>
              <a:defRPr sz="1200"/>
            </a:lvl4pPr>
            <a:lvl5pPr>
              <a:buClr>
                <a:schemeClr val="accent4"/>
              </a:buCl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Freeform: Shape 17">
            <a:extLst>
              <a:ext uri="{FF2B5EF4-FFF2-40B4-BE49-F238E27FC236}">
                <a16:creationId xmlns:a16="http://schemas.microsoft.com/office/drawing/2014/main" id="{81C49F2B-58AF-8122-F863-F0AF6DD2628F}"/>
              </a:ext>
            </a:extLst>
          </p:cNvPr>
          <p:cNvSpPr/>
          <p:nvPr userDrawn="1"/>
        </p:nvSpPr>
        <p:spPr>
          <a:xfrm>
            <a:off x="2156175" y="3317774"/>
            <a:ext cx="1398337" cy="3255643"/>
          </a:xfrm>
          <a:custGeom>
            <a:avLst/>
            <a:gdLst>
              <a:gd name="connsiteX0" fmla="*/ 1303919 w 1864449"/>
              <a:gd name="connsiteY0" fmla="*/ 859 h 3255643"/>
              <a:gd name="connsiteX1" fmla="*/ 1598851 w 1864449"/>
              <a:gd name="connsiteY1" fmla="*/ 645726 h 3255643"/>
              <a:gd name="connsiteX2" fmla="*/ 1674028 w 1864449"/>
              <a:gd name="connsiteY2" fmla="*/ 3108073 h 3255643"/>
              <a:gd name="connsiteX3" fmla="*/ 210888 w 1864449"/>
              <a:gd name="connsiteY3" fmla="*/ 2425563 h 3255643"/>
              <a:gd name="connsiteX4" fmla="*/ 61577 w 1864449"/>
              <a:gd name="connsiteY4" fmla="*/ 2059622 h 3255643"/>
              <a:gd name="connsiteX5" fmla="*/ 1303919 w 1864449"/>
              <a:gd name="connsiteY5" fmla="*/ 859 h 325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64449" h="3255643">
                <a:moveTo>
                  <a:pt x="1303919" y="859"/>
                </a:moveTo>
                <a:cubicBezTo>
                  <a:pt x="1554097" y="15355"/>
                  <a:pt x="1708665" y="214035"/>
                  <a:pt x="1598851" y="645726"/>
                </a:cubicBezTo>
                <a:cubicBezTo>
                  <a:pt x="1247448" y="2027136"/>
                  <a:pt x="2268967" y="2591231"/>
                  <a:pt x="1674028" y="3108073"/>
                </a:cubicBezTo>
                <a:cubicBezTo>
                  <a:pt x="1190641" y="3528009"/>
                  <a:pt x="519823" y="2973220"/>
                  <a:pt x="210888" y="2425563"/>
                </a:cubicBezTo>
                <a:cubicBezTo>
                  <a:pt x="139596" y="2299180"/>
                  <a:pt x="87575" y="2173178"/>
                  <a:pt x="61577" y="2059622"/>
                </a:cubicBezTo>
                <a:cubicBezTo>
                  <a:pt x="-259613" y="828525"/>
                  <a:pt x="753529" y="-31033"/>
                  <a:pt x="1303919" y="859"/>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2" name="Freeform: Shape 11">
            <a:extLst>
              <a:ext uri="{FF2B5EF4-FFF2-40B4-BE49-F238E27FC236}">
                <a16:creationId xmlns:a16="http://schemas.microsoft.com/office/drawing/2014/main" id="{9E6357F9-711C-8255-E4CF-B983AEC33772}"/>
              </a:ext>
            </a:extLst>
          </p:cNvPr>
          <p:cNvSpPr/>
          <p:nvPr userDrawn="1"/>
        </p:nvSpPr>
        <p:spPr>
          <a:xfrm>
            <a:off x="1295542" y="314279"/>
            <a:ext cx="2669975" cy="4772583"/>
          </a:xfrm>
          <a:custGeom>
            <a:avLst/>
            <a:gdLst>
              <a:gd name="connsiteX0" fmla="*/ 2629170 w 3559966"/>
              <a:gd name="connsiteY0" fmla="*/ 961 h 4772583"/>
              <a:gd name="connsiteX1" fmla="*/ 3272980 w 3559966"/>
              <a:gd name="connsiteY1" fmla="*/ 250595 h 4772583"/>
              <a:gd name="connsiteX2" fmla="*/ 2235116 w 3559966"/>
              <a:gd name="connsiteY2" fmla="*/ 4667993 h 4772583"/>
              <a:gd name="connsiteX3" fmla="*/ 37990 w 3559966"/>
              <a:gd name="connsiteY3" fmla="*/ 1868288 h 4772583"/>
              <a:gd name="connsiteX4" fmla="*/ 2629170 w 3559966"/>
              <a:gd name="connsiteY4" fmla="*/ 961 h 4772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59966" h="4772583">
                <a:moveTo>
                  <a:pt x="2629170" y="961"/>
                </a:moveTo>
                <a:cubicBezTo>
                  <a:pt x="2893495" y="-9398"/>
                  <a:pt x="3120352" y="63385"/>
                  <a:pt x="3272980" y="250595"/>
                </a:cubicBezTo>
                <a:cubicBezTo>
                  <a:pt x="3970708" y="1106411"/>
                  <a:pt x="3307628" y="4023593"/>
                  <a:pt x="2235116" y="4667993"/>
                </a:cubicBezTo>
                <a:cubicBezTo>
                  <a:pt x="1162605" y="5312392"/>
                  <a:pt x="-250305" y="2806328"/>
                  <a:pt x="37990" y="1868288"/>
                </a:cubicBezTo>
                <a:cubicBezTo>
                  <a:pt x="263221" y="1135444"/>
                  <a:pt x="1685151" y="37958"/>
                  <a:pt x="2629170" y="961"/>
                </a:cubicBezTo>
                <a:close/>
              </a:path>
            </a:pathLst>
          </a:cu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14" name="Freeform: Shape 13">
            <a:extLst>
              <a:ext uri="{FF2B5EF4-FFF2-40B4-BE49-F238E27FC236}">
                <a16:creationId xmlns:a16="http://schemas.microsoft.com/office/drawing/2014/main" id="{226E0AB1-EC74-5A50-028C-28AE4D2F619A}"/>
              </a:ext>
            </a:extLst>
          </p:cNvPr>
          <p:cNvSpPr/>
          <p:nvPr userDrawn="1"/>
        </p:nvSpPr>
        <p:spPr>
          <a:xfrm>
            <a:off x="2675705" y="1990454"/>
            <a:ext cx="1399139" cy="2564608"/>
          </a:xfrm>
          <a:custGeom>
            <a:avLst/>
            <a:gdLst>
              <a:gd name="connsiteX0" fmla="*/ 797111 w 1865518"/>
              <a:gd name="connsiteY0" fmla="*/ 25 h 2564608"/>
              <a:gd name="connsiteX1" fmla="*/ 1854618 w 1865518"/>
              <a:gd name="connsiteY1" fmla="*/ 1470433 h 2564608"/>
              <a:gd name="connsiteX2" fmla="*/ 201733 w 1865518"/>
              <a:gd name="connsiteY2" fmla="*/ 2453129 h 2564608"/>
              <a:gd name="connsiteX3" fmla="*/ 581487 w 1865518"/>
              <a:gd name="connsiteY3" fmla="*/ 70732 h 2564608"/>
              <a:gd name="connsiteX4" fmla="*/ 797111 w 1865518"/>
              <a:gd name="connsiteY4" fmla="*/ 25 h 2564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518" h="2564608">
                <a:moveTo>
                  <a:pt x="797111" y="25"/>
                </a:moveTo>
                <a:cubicBezTo>
                  <a:pt x="1321752" y="-5769"/>
                  <a:pt x="1956684" y="1025472"/>
                  <a:pt x="1854618" y="1470433"/>
                </a:cubicBezTo>
                <a:cubicBezTo>
                  <a:pt x="1737971" y="1978960"/>
                  <a:pt x="604749" y="2879982"/>
                  <a:pt x="201733" y="2453129"/>
                </a:cubicBezTo>
                <a:cubicBezTo>
                  <a:pt x="-201282" y="2026275"/>
                  <a:pt x="37672" y="453838"/>
                  <a:pt x="581487" y="70732"/>
                </a:cubicBezTo>
                <a:cubicBezTo>
                  <a:pt x="649464" y="22844"/>
                  <a:pt x="722162" y="852"/>
                  <a:pt x="797111" y="25"/>
                </a:cubicBezTo>
                <a:close/>
              </a:path>
            </a:pathLst>
          </a:custGeom>
          <a:noFill/>
          <a:ln w="38100">
            <a:solidFill>
              <a:schemeClr val="tx2">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a:p>
        </p:txBody>
      </p:sp>
      <p:sp>
        <p:nvSpPr>
          <p:cNvPr id="23" name="Picture Placeholder 22">
            <a:extLst>
              <a:ext uri="{FF2B5EF4-FFF2-40B4-BE49-F238E27FC236}">
                <a16:creationId xmlns:a16="http://schemas.microsoft.com/office/drawing/2014/main" id="{D254B4BD-F773-23A7-8749-ADF77306DF5B}"/>
              </a:ext>
            </a:extLst>
          </p:cNvPr>
          <p:cNvSpPr>
            <a:spLocks noGrp="1"/>
          </p:cNvSpPr>
          <p:nvPr>
            <p:ph type="pic" sz="quarter" idx="10"/>
          </p:nvPr>
        </p:nvSpPr>
        <p:spPr>
          <a:xfrm>
            <a:off x="1" y="0"/>
            <a:ext cx="3618069" cy="6858000"/>
          </a:xfrm>
          <a:custGeom>
            <a:avLst/>
            <a:gdLst>
              <a:gd name="connsiteX0" fmla="*/ 0 w 4824092"/>
              <a:gd name="connsiteY0" fmla="*/ 0 h 6858000"/>
              <a:gd name="connsiteX1" fmla="*/ 4803723 w 4824092"/>
              <a:gd name="connsiteY1" fmla="*/ 0 h 6858000"/>
              <a:gd name="connsiteX2" fmla="*/ 4809757 w 4824092"/>
              <a:gd name="connsiteY2" fmla="*/ 55240 h 6858000"/>
              <a:gd name="connsiteX3" fmla="*/ 4340558 w 4824092"/>
              <a:gd name="connsiteY3" fmla="*/ 2357355 h 6858000"/>
              <a:gd name="connsiteX4" fmla="*/ 4257693 w 4824092"/>
              <a:gd name="connsiteY4" fmla="*/ 2555609 h 6858000"/>
              <a:gd name="connsiteX5" fmla="*/ 4252750 w 4824092"/>
              <a:gd name="connsiteY5" fmla="*/ 2562419 h 6858000"/>
              <a:gd name="connsiteX6" fmla="*/ 3831222 w 4824092"/>
              <a:gd name="connsiteY6" fmla="*/ 3565223 h 6858000"/>
              <a:gd name="connsiteX7" fmla="*/ 3722847 w 4824092"/>
              <a:gd name="connsiteY7" fmla="*/ 4570758 h 6858000"/>
              <a:gd name="connsiteX8" fmla="*/ 3735780 w 4824092"/>
              <a:gd name="connsiteY8" fmla="*/ 4825008 h 6858000"/>
              <a:gd name="connsiteX9" fmla="*/ 3752253 w 4824092"/>
              <a:gd name="connsiteY9" fmla="*/ 4971340 h 6858000"/>
              <a:gd name="connsiteX10" fmla="*/ 3765887 w 4824092"/>
              <a:gd name="connsiteY10" fmla="*/ 5117348 h 6858000"/>
              <a:gd name="connsiteX11" fmla="*/ 3796459 w 4824092"/>
              <a:gd name="connsiteY11" fmla="*/ 5338295 h 6858000"/>
              <a:gd name="connsiteX12" fmla="*/ 3819568 w 4824092"/>
              <a:gd name="connsiteY12" fmla="*/ 6764086 h 6858000"/>
              <a:gd name="connsiteX13" fmla="*/ 3801837 w 4824092"/>
              <a:gd name="connsiteY13" fmla="*/ 6858000 h 6858000"/>
              <a:gd name="connsiteX14" fmla="*/ 0 w 4824092"/>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824092" h="6858000">
                <a:moveTo>
                  <a:pt x="0" y="0"/>
                </a:moveTo>
                <a:lnTo>
                  <a:pt x="4803723" y="0"/>
                </a:lnTo>
                <a:lnTo>
                  <a:pt x="4809757" y="55240"/>
                </a:lnTo>
                <a:cubicBezTo>
                  <a:pt x="4893777" y="1062871"/>
                  <a:pt x="4591706" y="1782362"/>
                  <a:pt x="4340558" y="2357355"/>
                </a:cubicBezTo>
                <a:lnTo>
                  <a:pt x="4257693" y="2555609"/>
                </a:lnTo>
                <a:lnTo>
                  <a:pt x="4252750" y="2562419"/>
                </a:lnTo>
                <a:cubicBezTo>
                  <a:pt x="4069830" y="2857481"/>
                  <a:pt x="3923527" y="3192021"/>
                  <a:pt x="3831222" y="3565223"/>
                </a:cubicBezTo>
                <a:cubicBezTo>
                  <a:pt x="3754831" y="3874077"/>
                  <a:pt x="3715422" y="4209410"/>
                  <a:pt x="3722847" y="4570758"/>
                </a:cubicBezTo>
                <a:cubicBezTo>
                  <a:pt x="3722077" y="4651649"/>
                  <a:pt x="3726482" y="4736740"/>
                  <a:pt x="3735780" y="4825008"/>
                </a:cubicBezTo>
                <a:cubicBezTo>
                  <a:pt x="3744620" y="4882175"/>
                  <a:pt x="3743413" y="4914172"/>
                  <a:pt x="3752253" y="4971340"/>
                </a:cubicBezTo>
                <a:lnTo>
                  <a:pt x="3765887" y="5117348"/>
                </a:lnTo>
                <a:cubicBezTo>
                  <a:pt x="3771847" y="5186617"/>
                  <a:pt x="3781942" y="5260230"/>
                  <a:pt x="3796459" y="5338295"/>
                </a:cubicBezTo>
                <a:cubicBezTo>
                  <a:pt x="3898083" y="5884739"/>
                  <a:pt x="3887578" y="6354017"/>
                  <a:pt x="3819568" y="6764086"/>
                </a:cubicBezTo>
                <a:lnTo>
                  <a:pt x="3801837" y="6858000"/>
                </a:lnTo>
                <a:lnTo>
                  <a:pt x="0" y="6858000"/>
                </a:lnTo>
                <a:close/>
              </a:path>
            </a:pathLst>
          </a:custGeom>
          <a:solidFill>
            <a:schemeClr val="bg1">
              <a:lumMod val="95000"/>
            </a:schemeClr>
          </a:solidFill>
        </p:spPr>
        <p:txBody>
          <a:bodyPr wrap="square" anchor="ctr">
            <a:noAutofit/>
          </a:bodyPr>
          <a:lstStyle>
            <a:lvl1pPr marL="0" indent="0" algn="ctr">
              <a:buNone/>
              <a:defRPr/>
            </a:lvl1pPr>
          </a:lstStyle>
          <a:p>
            <a:r>
              <a:rPr lang="en-US"/>
              <a:t>Click icon to add picture</a:t>
            </a:r>
          </a:p>
        </p:txBody>
      </p:sp>
    </p:spTree>
    <p:extLst>
      <p:ext uri="{BB962C8B-B14F-4D97-AF65-F5344CB8AC3E}">
        <p14:creationId xmlns:p14="http://schemas.microsoft.com/office/powerpoint/2010/main" val="8836044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A697FE33-C46B-7B45-E4FB-3DEA16B54A5F}"/>
              </a:ext>
            </a:extLst>
          </p:cNvPr>
          <p:cNvSpPr>
            <a:spLocks noGrp="1"/>
          </p:cNvSpPr>
          <p:nvPr>
            <p:ph type="body" sz="quarter" idx="13" hasCustomPrompt="1"/>
          </p:nvPr>
        </p:nvSpPr>
        <p:spPr>
          <a:xfrm>
            <a:off x="1411110" y="1692737"/>
            <a:ext cx="1152250" cy="343434"/>
          </a:xfrm>
          <a:custGeom>
            <a:avLst/>
            <a:gdLst>
              <a:gd name="connsiteX0" fmla="*/ 171534 w 1536333"/>
              <a:gd name="connsiteY0" fmla="*/ 0 h 343434"/>
              <a:gd name="connsiteX1" fmla="*/ 343069 w 1536333"/>
              <a:gd name="connsiteY1" fmla="*/ 0 h 343434"/>
              <a:gd name="connsiteX2" fmla="*/ 343069 w 1536333"/>
              <a:gd name="connsiteY2" fmla="*/ 91 h 343434"/>
              <a:gd name="connsiteX3" fmla="*/ 1193265 w 1536333"/>
              <a:gd name="connsiteY3" fmla="*/ 91 h 343434"/>
              <a:gd name="connsiteX4" fmla="*/ 1193265 w 1536333"/>
              <a:gd name="connsiteY4" fmla="*/ 366 h 343434"/>
              <a:gd name="connsiteX5" fmla="*/ 1364799 w 1536333"/>
              <a:gd name="connsiteY5" fmla="*/ 366 h 343434"/>
              <a:gd name="connsiteX6" fmla="*/ 1536333 w 1536333"/>
              <a:gd name="connsiteY6" fmla="*/ 171900 h 343434"/>
              <a:gd name="connsiteX7" fmla="*/ 1364799 w 1536333"/>
              <a:gd name="connsiteY7" fmla="*/ 343434 h 343434"/>
              <a:gd name="connsiteX8" fmla="*/ 1193265 w 1536333"/>
              <a:gd name="connsiteY8" fmla="*/ 343434 h 343434"/>
              <a:gd name="connsiteX9" fmla="*/ 339549 w 1536333"/>
              <a:gd name="connsiteY9" fmla="*/ 343434 h 343434"/>
              <a:gd name="connsiteX10" fmla="*/ 339549 w 1536333"/>
              <a:gd name="connsiteY10" fmla="*/ 343068 h 343434"/>
              <a:gd name="connsiteX11" fmla="*/ 171534 w 1536333"/>
              <a:gd name="connsiteY11" fmla="*/ 343068 h 343434"/>
              <a:gd name="connsiteX12" fmla="*/ 0 w 1536333"/>
              <a:gd name="connsiteY12" fmla="*/ 171534 h 343434"/>
              <a:gd name="connsiteX13" fmla="*/ 171534 w 1536333"/>
              <a:gd name="connsiteY13" fmla="*/ 0 h 3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36333" h="343434">
                <a:moveTo>
                  <a:pt x="171534" y="0"/>
                </a:moveTo>
                <a:lnTo>
                  <a:pt x="343069" y="0"/>
                </a:lnTo>
                <a:lnTo>
                  <a:pt x="343069" y="91"/>
                </a:lnTo>
                <a:lnTo>
                  <a:pt x="1193265" y="91"/>
                </a:lnTo>
                <a:lnTo>
                  <a:pt x="1193265" y="366"/>
                </a:lnTo>
                <a:lnTo>
                  <a:pt x="1364799" y="366"/>
                </a:lnTo>
                <a:cubicBezTo>
                  <a:pt x="1459535" y="366"/>
                  <a:pt x="1536333" y="77164"/>
                  <a:pt x="1536333" y="171900"/>
                </a:cubicBezTo>
                <a:cubicBezTo>
                  <a:pt x="1536333" y="266636"/>
                  <a:pt x="1459535" y="343434"/>
                  <a:pt x="1364799" y="343434"/>
                </a:cubicBezTo>
                <a:lnTo>
                  <a:pt x="1193265" y="343434"/>
                </a:lnTo>
                <a:lnTo>
                  <a:pt x="339549" y="343434"/>
                </a:lnTo>
                <a:lnTo>
                  <a:pt x="339549" y="343068"/>
                </a:lnTo>
                <a:lnTo>
                  <a:pt x="171534" y="343068"/>
                </a:lnTo>
                <a:cubicBezTo>
                  <a:pt x="76798" y="343068"/>
                  <a:pt x="0" y="266270"/>
                  <a:pt x="0" y="171534"/>
                </a:cubicBezTo>
                <a:cubicBezTo>
                  <a:pt x="0" y="76798"/>
                  <a:pt x="76798" y="0"/>
                  <a:pt x="171534" y="0"/>
                </a:cubicBezTo>
                <a:close/>
              </a:path>
            </a:pathLst>
          </a:custGeom>
          <a:solidFill>
            <a:schemeClr val="accent6"/>
          </a:solidFill>
        </p:spPr>
        <p:txBody>
          <a:bodyPr wrap="square" rIns="182880">
            <a:noAutofit/>
          </a:bodyPr>
          <a:lstStyle>
            <a:lvl1pPr marL="0" indent="0" algn="ctr">
              <a:lnSpc>
                <a:spcPct val="100000"/>
              </a:lnSpc>
              <a:buNone/>
              <a:defRPr sz="1350">
                <a:solidFill>
                  <a:schemeClr val="bg1"/>
                </a:solidFill>
              </a:defRPr>
            </a:lvl1pPr>
          </a:lstStyle>
          <a:p>
            <a:pPr lvl="0"/>
            <a:r>
              <a:rPr lang="en-US"/>
              <a:t>Time</a:t>
            </a:r>
          </a:p>
        </p:txBody>
      </p:sp>
      <p:sp>
        <p:nvSpPr>
          <p:cNvPr id="2" name="Title 1">
            <a:extLst>
              <a:ext uri="{FF2B5EF4-FFF2-40B4-BE49-F238E27FC236}">
                <a16:creationId xmlns:a16="http://schemas.microsoft.com/office/drawing/2014/main" id="{4B2F7D74-558F-4816-9367-4004FFA2B6A4}"/>
              </a:ext>
            </a:extLst>
          </p:cNvPr>
          <p:cNvSpPr>
            <a:spLocks noGrp="1"/>
          </p:cNvSpPr>
          <p:nvPr>
            <p:ph type="title"/>
          </p:nvPr>
        </p:nvSpPr>
        <p:spPr/>
        <p:txBody>
          <a:bodyPr>
            <a:noAutofit/>
          </a:bodyPr>
          <a:lstStyle>
            <a:lvl1pPr algn="ctr">
              <a:defRPr/>
            </a:lvl1pPr>
          </a:lstStyle>
          <a:p>
            <a:r>
              <a:rPr lang="en-US"/>
              <a:t>Click to edit Master title style</a:t>
            </a:r>
          </a:p>
        </p:txBody>
      </p:sp>
      <p:sp>
        <p:nvSpPr>
          <p:cNvPr id="15" name="Text Placeholder 14">
            <a:extLst>
              <a:ext uri="{FF2B5EF4-FFF2-40B4-BE49-F238E27FC236}">
                <a16:creationId xmlns:a16="http://schemas.microsoft.com/office/drawing/2014/main" id="{AA459E6E-97FC-1074-4C06-9CD71EC9BEDE}"/>
              </a:ext>
            </a:extLst>
          </p:cNvPr>
          <p:cNvSpPr>
            <a:spLocks noGrp="1"/>
          </p:cNvSpPr>
          <p:nvPr>
            <p:ph type="body" sz="quarter" idx="14" hasCustomPrompt="1"/>
          </p:nvPr>
        </p:nvSpPr>
        <p:spPr>
          <a:xfrm>
            <a:off x="1411110" y="2285390"/>
            <a:ext cx="1152250" cy="343434"/>
          </a:xfrm>
          <a:custGeom>
            <a:avLst/>
            <a:gdLst>
              <a:gd name="connsiteX0" fmla="*/ 171534 w 1536333"/>
              <a:gd name="connsiteY0" fmla="*/ 0 h 343434"/>
              <a:gd name="connsiteX1" fmla="*/ 343069 w 1536333"/>
              <a:gd name="connsiteY1" fmla="*/ 0 h 343434"/>
              <a:gd name="connsiteX2" fmla="*/ 343069 w 1536333"/>
              <a:gd name="connsiteY2" fmla="*/ 91 h 343434"/>
              <a:gd name="connsiteX3" fmla="*/ 1193265 w 1536333"/>
              <a:gd name="connsiteY3" fmla="*/ 91 h 343434"/>
              <a:gd name="connsiteX4" fmla="*/ 1193265 w 1536333"/>
              <a:gd name="connsiteY4" fmla="*/ 366 h 343434"/>
              <a:gd name="connsiteX5" fmla="*/ 1364799 w 1536333"/>
              <a:gd name="connsiteY5" fmla="*/ 366 h 343434"/>
              <a:gd name="connsiteX6" fmla="*/ 1536333 w 1536333"/>
              <a:gd name="connsiteY6" fmla="*/ 171900 h 343434"/>
              <a:gd name="connsiteX7" fmla="*/ 1364799 w 1536333"/>
              <a:gd name="connsiteY7" fmla="*/ 343434 h 343434"/>
              <a:gd name="connsiteX8" fmla="*/ 1193265 w 1536333"/>
              <a:gd name="connsiteY8" fmla="*/ 343434 h 343434"/>
              <a:gd name="connsiteX9" fmla="*/ 339549 w 1536333"/>
              <a:gd name="connsiteY9" fmla="*/ 343434 h 343434"/>
              <a:gd name="connsiteX10" fmla="*/ 339549 w 1536333"/>
              <a:gd name="connsiteY10" fmla="*/ 343068 h 343434"/>
              <a:gd name="connsiteX11" fmla="*/ 171534 w 1536333"/>
              <a:gd name="connsiteY11" fmla="*/ 343068 h 343434"/>
              <a:gd name="connsiteX12" fmla="*/ 0 w 1536333"/>
              <a:gd name="connsiteY12" fmla="*/ 171534 h 343434"/>
              <a:gd name="connsiteX13" fmla="*/ 171534 w 1536333"/>
              <a:gd name="connsiteY13" fmla="*/ 0 h 3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36333" h="343434">
                <a:moveTo>
                  <a:pt x="171534" y="0"/>
                </a:moveTo>
                <a:lnTo>
                  <a:pt x="343069" y="0"/>
                </a:lnTo>
                <a:lnTo>
                  <a:pt x="343069" y="91"/>
                </a:lnTo>
                <a:lnTo>
                  <a:pt x="1193265" y="91"/>
                </a:lnTo>
                <a:lnTo>
                  <a:pt x="1193265" y="366"/>
                </a:lnTo>
                <a:lnTo>
                  <a:pt x="1364799" y="366"/>
                </a:lnTo>
                <a:cubicBezTo>
                  <a:pt x="1459535" y="366"/>
                  <a:pt x="1536333" y="77164"/>
                  <a:pt x="1536333" y="171900"/>
                </a:cubicBezTo>
                <a:cubicBezTo>
                  <a:pt x="1536333" y="266636"/>
                  <a:pt x="1459535" y="343434"/>
                  <a:pt x="1364799" y="343434"/>
                </a:cubicBezTo>
                <a:lnTo>
                  <a:pt x="1193265" y="343434"/>
                </a:lnTo>
                <a:lnTo>
                  <a:pt x="339549" y="343434"/>
                </a:lnTo>
                <a:lnTo>
                  <a:pt x="339549" y="343068"/>
                </a:lnTo>
                <a:lnTo>
                  <a:pt x="171534" y="343068"/>
                </a:lnTo>
                <a:cubicBezTo>
                  <a:pt x="76798" y="343068"/>
                  <a:pt x="0" y="266270"/>
                  <a:pt x="0" y="171534"/>
                </a:cubicBezTo>
                <a:cubicBezTo>
                  <a:pt x="0" y="76798"/>
                  <a:pt x="76798" y="0"/>
                  <a:pt x="171534" y="0"/>
                </a:cubicBezTo>
                <a:close/>
              </a:path>
            </a:pathLst>
          </a:custGeom>
          <a:solidFill>
            <a:schemeClr val="accent5"/>
          </a:solidFill>
        </p:spPr>
        <p:txBody>
          <a:bodyPr wrap="square" rIns="182880">
            <a:noAutofit/>
          </a:bodyPr>
          <a:lstStyle>
            <a:lvl1pPr marL="0" indent="0" algn="ctr">
              <a:lnSpc>
                <a:spcPct val="100000"/>
              </a:lnSpc>
              <a:buNone/>
              <a:defRPr sz="1350">
                <a:solidFill>
                  <a:schemeClr val="bg1"/>
                </a:solidFill>
              </a:defRPr>
            </a:lvl1pPr>
          </a:lstStyle>
          <a:p>
            <a:pPr lvl="0"/>
            <a:r>
              <a:rPr lang="en-US"/>
              <a:t>Time</a:t>
            </a:r>
          </a:p>
        </p:txBody>
      </p:sp>
      <p:sp>
        <p:nvSpPr>
          <p:cNvPr id="16" name="Text Placeholder 15">
            <a:extLst>
              <a:ext uri="{FF2B5EF4-FFF2-40B4-BE49-F238E27FC236}">
                <a16:creationId xmlns:a16="http://schemas.microsoft.com/office/drawing/2014/main" id="{D6E9F63E-C450-8098-3C4A-434344351AFD}"/>
              </a:ext>
            </a:extLst>
          </p:cNvPr>
          <p:cNvSpPr>
            <a:spLocks noGrp="1"/>
          </p:cNvSpPr>
          <p:nvPr>
            <p:ph type="body" sz="quarter" idx="15" hasCustomPrompt="1"/>
          </p:nvPr>
        </p:nvSpPr>
        <p:spPr>
          <a:xfrm>
            <a:off x="1411110" y="2878043"/>
            <a:ext cx="1152250" cy="343434"/>
          </a:xfrm>
          <a:custGeom>
            <a:avLst/>
            <a:gdLst>
              <a:gd name="connsiteX0" fmla="*/ 171534 w 1536333"/>
              <a:gd name="connsiteY0" fmla="*/ 0 h 343434"/>
              <a:gd name="connsiteX1" fmla="*/ 343069 w 1536333"/>
              <a:gd name="connsiteY1" fmla="*/ 0 h 343434"/>
              <a:gd name="connsiteX2" fmla="*/ 343069 w 1536333"/>
              <a:gd name="connsiteY2" fmla="*/ 91 h 343434"/>
              <a:gd name="connsiteX3" fmla="*/ 1193265 w 1536333"/>
              <a:gd name="connsiteY3" fmla="*/ 91 h 343434"/>
              <a:gd name="connsiteX4" fmla="*/ 1193265 w 1536333"/>
              <a:gd name="connsiteY4" fmla="*/ 366 h 343434"/>
              <a:gd name="connsiteX5" fmla="*/ 1364799 w 1536333"/>
              <a:gd name="connsiteY5" fmla="*/ 366 h 343434"/>
              <a:gd name="connsiteX6" fmla="*/ 1536333 w 1536333"/>
              <a:gd name="connsiteY6" fmla="*/ 171900 h 343434"/>
              <a:gd name="connsiteX7" fmla="*/ 1364799 w 1536333"/>
              <a:gd name="connsiteY7" fmla="*/ 343434 h 343434"/>
              <a:gd name="connsiteX8" fmla="*/ 1193265 w 1536333"/>
              <a:gd name="connsiteY8" fmla="*/ 343434 h 343434"/>
              <a:gd name="connsiteX9" fmla="*/ 339549 w 1536333"/>
              <a:gd name="connsiteY9" fmla="*/ 343434 h 343434"/>
              <a:gd name="connsiteX10" fmla="*/ 339549 w 1536333"/>
              <a:gd name="connsiteY10" fmla="*/ 343068 h 343434"/>
              <a:gd name="connsiteX11" fmla="*/ 171534 w 1536333"/>
              <a:gd name="connsiteY11" fmla="*/ 343068 h 343434"/>
              <a:gd name="connsiteX12" fmla="*/ 0 w 1536333"/>
              <a:gd name="connsiteY12" fmla="*/ 171534 h 343434"/>
              <a:gd name="connsiteX13" fmla="*/ 171534 w 1536333"/>
              <a:gd name="connsiteY13" fmla="*/ 0 h 3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36333" h="343434">
                <a:moveTo>
                  <a:pt x="171534" y="0"/>
                </a:moveTo>
                <a:lnTo>
                  <a:pt x="343069" y="0"/>
                </a:lnTo>
                <a:lnTo>
                  <a:pt x="343069" y="91"/>
                </a:lnTo>
                <a:lnTo>
                  <a:pt x="1193265" y="91"/>
                </a:lnTo>
                <a:lnTo>
                  <a:pt x="1193265" y="366"/>
                </a:lnTo>
                <a:lnTo>
                  <a:pt x="1364799" y="366"/>
                </a:lnTo>
                <a:cubicBezTo>
                  <a:pt x="1459535" y="366"/>
                  <a:pt x="1536333" y="77164"/>
                  <a:pt x="1536333" y="171900"/>
                </a:cubicBezTo>
                <a:cubicBezTo>
                  <a:pt x="1536333" y="266636"/>
                  <a:pt x="1459535" y="343434"/>
                  <a:pt x="1364799" y="343434"/>
                </a:cubicBezTo>
                <a:lnTo>
                  <a:pt x="1193265" y="343434"/>
                </a:lnTo>
                <a:lnTo>
                  <a:pt x="339549" y="343434"/>
                </a:lnTo>
                <a:lnTo>
                  <a:pt x="339549" y="343068"/>
                </a:lnTo>
                <a:lnTo>
                  <a:pt x="171534" y="343068"/>
                </a:lnTo>
                <a:cubicBezTo>
                  <a:pt x="76798" y="343068"/>
                  <a:pt x="0" y="266270"/>
                  <a:pt x="0" y="171534"/>
                </a:cubicBezTo>
                <a:cubicBezTo>
                  <a:pt x="0" y="76798"/>
                  <a:pt x="76798" y="0"/>
                  <a:pt x="171534" y="0"/>
                </a:cubicBezTo>
                <a:close/>
              </a:path>
            </a:pathLst>
          </a:custGeom>
          <a:solidFill>
            <a:schemeClr val="accent4"/>
          </a:solidFill>
        </p:spPr>
        <p:txBody>
          <a:bodyPr wrap="square" rIns="182880">
            <a:noAutofit/>
          </a:bodyPr>
          <a:lstStyle>
            <a:lvl1pPr marL="0" indent="0" algn="ctr">
              <a:lnSpc>
                <a:spcPct val="100000"/>
              </a:lnSpc>
              <a:buNone/>
              <a:defRPr sz="1350">
                <a:solidFill>
                  <a:schemeClr val="bg1"/>
                </a:solidFill>
              </a:defRPr>
            </a:lvl1pPr>
          </a:lstStyle>
          <a:p>
            <a:pPr lvl="0"/>
            <a:r>
              <a:rPr lang="en-US"/>
              <a:t>Time</a:t>
            </a:r>
          </a:p>
        </p:txBody>
      </p:sp>
      <p:sp>
        <p:nvSpPr>
          <p:cNvPr id="17" name="Text Placeholder 16">
            <a:extLst>
              <a:ext uri="{FF2B5EF4-FFF2-40B4-BE49-F238E27FC236}">
                <a16:creationId xmlns:a16="http://schemas.microsoft.com/office/drawing/2014/main" id="{A368112B-632E-7F30-A801-131F91B561B0}"/>
              </a:ext>
            </a:extLst>
          </p:cNvPr>
          <p:cNvSpPr>
            <a:spLocks noGrp="1"/>
          </p:cNvSpPr>
          <p:nvPr>
            <p:ph type="body" sz="quarter" idx="16" hasCustomPrompt="1"/>
          </p:nvPr>
        </p:nvSpPr>
        <p:spPr>
          <a:xfrm>
            <a:off x="1411110" y="3470696"/>
            <a:ext cx="1152250" cy="343434"/>
          </a:xfrm>
          <a:custGeom>
            <a:avLst/>
            <a:gdLst>
              <a:gd name="connsiteX0" fmla="*/ 171534 w 1536333"/>
              <a:gd name="connsiteY0" fmla="*/ 0 h 343434"/>
              <a:gd name="connsiteX1" fmla="*/ 343069 w 1536333"/>
              <a:gd name="connsiteY1" fmla="*/ 0 h 343434"/>
              <a:gd name="connsiteX2" fmla="*/ 343069 w 1536333"/>
              <a:gd name="connsiteY2" fmla="*/ 91 h 343434"/>
              <a:gd name="connsiteX3" fmla="*/ 1193265 w 1536333"/>
              <a:gd name="connsiteY3" fmla="*/ 91 h 343434"/>
              <a:gd name="connsiteX4" fmla="*/ 1193265 w 1536333"/>
              <a:gd name="connsiteY4" fmla="*/ 366 h 343434"/>
              <a:gd name="connsiteX5" fmla="*/ 1364799 w 1536333"/>
              <a:gd name="connsiteY5" fmla="*/ 366 h 343434"/>
              <a:gd name="connsiteX6" fmla="*/ 1536333 w 1536333"/>
              <a:gd name="connsiteY6" fmla="*/ 171900 h 343434"/>
              <a:gd name="connsiteX7" fmla="*/ 1364799 w 1536333"/>
              <a:gd name="connsiteY7" fmla="*/ 343434 h 343434"/>
              <a:gd name="connsiteX8" fmla="*/ 1193265 w 1536333"/>
              <a:gd name="connsiteY8" fmla="*/ 343434 h 343434"/>
              <a:gd name="connsiteX9" fmla="*/ 339549 w 1536333"/>
              <a:gd name="connsiteY9" fmla="*/ 343434 h 343434"/>
              <a:gd name="connsiteX10" fmla="*/ 339549 w 1536333"/>
              <a:gd name="connsiteY10" fmla="*/ 343068 h 343434"/>
              <a:gd name="connsiteX11" fmla="*/ 171534 w 1536333"/>
              <a:gd name="connsiteY11" fmla="*/ 343068 h 343434"/>
              <a:gd name="connsiteX12" fmla="*/ 0 w 1536333"/>
              <a:gd name="connsiteY12" fmla="*/ 171534 h 343434"/>
              <a:gd name="connsiteX13" fmla="*/ 171534 w 1536333"/>
              <a:gd name="connsiteY13" fmla="*/ 0 h 3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36333" h="343434">
                <a:moveTo>
                  <a:pt x="171534" y="0"/>
                </a:moveTo>
                <a:lnTo>
                  <a:pt x="343069" y="0"/>
                </a:lnTo>
                <a:lnTo>
                  <a:pt x="343069" y="91"/>
                </a:lnTo>
                <a:lnTo>
                  <a:pt x="1193265" y="91"/>
                </a:lnTo>
                <a:lnTo>
                  <a:pt x="1193265" y="366"/>
                </a:lnTo>
                <a:lnTo>
                  <a:pt x="1364799" y="366"/>
                </a:lnTo>
                <a:cubicBezTo>
                  <a:pt x="1459535" y="366"/>
                  <a:pt x="1536333" y="77164"/>
                  <a:pt x="1536333" y="171900"/>
                </a:cubicBezTo>
                <a:cubicBezTo>
                  <a:pt x="1536333" y="266636"/>
                  <a:pt x="1459535" y="343434"/>
                  <a:pt x="1364799" y="343434"/>
                </a:cubicBezTo>
                <a:lnTo>
                  <a:pt x="1193265" y="343434"/>
                </a:lnTo>
                <a:lnTo>
                  <a:pt x="339549" y="343434"/>
                </a:lnTo>
                <a:lnTo>
                  <a:pt x="339549" y="343068"/>
                </a:lnTo>
                <a:lnTo>
                  <a:pt x="171534" y="343068"/>
                </a:lnTo>
                <a:cubicBezTo>
                  <a:pt x="76798" y="343068"/>
                  <a:pt x="0" y="266270"/>
                  <a:pt x="0" y="171534"/>
                </a:cubicBezTo>
                <a:cubicBezTo>
                  <a:pt x="0" y="76798"/>
                  <a:pt x="76798" y="0"/>
                  <a:pt x="171534" y="0"/>
                </a:cubicBezTo>
                <a:close/>
              </a:path>
            </a:pathLst>
          </a:custGeom>
          <a:solidFill>
            <a:schemeClr val="accent2"/>
          </a:solidFill>
          <a:ln>
            <a:noFill/>
          </a:ln>
        </p:spPr>
        <p:txBody>
          <a:bodyPr wrap="square" rIns="182880">
            <a:noAutofit/>
          </a:bodyPr>
          <a:lstStyle>
            <a:lvl1pPr marL="0" indent="0" algn="ctr">
              <a:lnSpc>
                <a:spcPct val="100000"/>
              </a:lnSpc>
              <a:buNone/>
              <a:defRPr sz="1350">
                <a:solidFill>
                  <a:schemeClr val="bg1"/>
                </a:solidFill>
              </a:defRPr>
            </a:lvl1pPr>
          </a:lstStyle>
          <a:p>
            <a:pPr lvl="0"/>
            <a:r>
              <a:rPr lang="en-US"/>
              <a:t>Time</a:t>
            </a:r>
          </a:p>
        </p:txBody>
      </p:sp>
      <p:sp>
        <p:nvSpPr>
          <p:cNvPr id="18" name="Text Placeholder 17">
            <a:extLst>
              <a:ext uri="{FF2B5EF4-FFF2-40B4-BE49-F238E27FC236}">
                <a16:creationId xmlns:a16="http://schemas.microsoft.com/office/drawing/2014/main" id="{2E07528E-155F-E875-8178-E3AEBAD0240A}"/>
              </a:ext>
            </a:extLst>
          </p:cNvPr>
          <p:cNvSpPr>
            <a:spLocks noGrp="1"/>
          </p:cNvSpPr>
          <p:nvPr>
            <p:ph type="body" sz="quarter" idx="17" hasCustomPrompt="1"/>
          </p:nvPr>
        </p:nvSpPr>
        <p:spPr>
          <a:xfrm>
            <a:off x="1411110" y="4063349"/>
            <a:ext cx="1152250" cy="343434"/>
          </a:xfrm>
          <a:custGeom>
            <a:avLst/>
            <a:gdLst>
              <a:gd name="connsiteX0" fmla="*/ 171534 w 1536333"/>
              <a:gd name="connsiteY0" fmla="*/ 0 h 343434"/>
              <a:gd name="connsiteX1" fmla="*/ 343069 w 1536333"/>
              <a:gd name="connsiteY1" fmla="*/ 0 h 343434"/>
              <a:gd name="connsiteX2" fmla="*/ 343069 w 1536333"/>
              <a:gd name="connsiteY2" fmla="*/ 91 h 343434"/>
              <a:gd name="connsiteX3" fmla="*/ 1193265 w 1536333"/>
              <a:gd name="connsiteY3" fmla="*/ 91 h 343434"/>
              <a:gd name="connsiteX4" fmla="*/ 1193265 w 1536333"/>
              <a:gd name="connsiteY4" fmla="*/ 366 h 343434"/>
              <a:gd name="connsiteX5" fmla="*/ 1364799 w 1536333"/>
              <a:gd name="connsiteY5" fmla="*/ 366 h 343434"/>
              <a:gd name="connsiteX6" fmla="*/ 1536333 w 1536333"/>
              <a:gd name="connsiteY6" fmla="*/ 171900 h 343434"/>
              <a:gd name="connsiteX7" fmla="*/ 1364799 w 1536333"/>
              <a:gd name="connsiteY7" fmla="*/ 343434 h 343434"/>
              <a:gd name="connsiteX8" fmla="*/ 1193265 w 1536333"/>
              <a:gd name="connsiteY8" fmla="*/ 343434 h 343434"/>
              <a:gd name="connsiteX9" fmla="*/ 339549 w 1536333"/>
              <a:gd name="connsiteY9" fmla="*/ 343434 h 343434"/>
              <a:gd name="connsiteX10" fmla="*/ 339549 w 1536333"/>
              <a:gd name="connsiteY10" fmla="*/ 343068 h 343434"/>
              <a:gd name="connsiteX11" fmla="*/ 171534 w 1536333"/>
              <a:gd name="connsiteY11" fmla="*/ 343068 h 343434"/>
              <a:gd name="connsiteX12" fmla="*/ 0 w 1536333"/>
              <a:gd name="connsiteY12" fmla="*/ 171534 h 343434"/>
              <a:gd name="connsiteX13" fmla="*/ 171534 w 1536333"/>
              <a:gd name="connsiteY13" fmla="*/ 0 h 3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36333" h="343434">
                <a:moveTo>
                  <a:pt x="171534" y="0"/>
                </a:moveTo>
                <a:lnTo>
                  <a:pt x="343069" y="0"/>
                </a:lnTo>
                <a:lnTo>
                  <a:pt x="343069" y="91"/>
                </a:lnTo>
                <a:lnTo>
                  <a:pt x="1193265" y="91"/>
                </a:lnTo>
                <a:lnTo>
                  <a:pt x="1193265" y="366"/>
                </a:lnTo>
                <a:lnTo>
                  <a:pt x="1364799" y="366"/>
                </a:lnTo>
                <a:cubicBezTo>
                  <a:pt x="1459535" y="366"/>
                  <a:pt x="1536333" y="77164"/>
                  <a:pt x="1536333" y="171900"/>
                </a:cubicBezTo>
                <a:cubicBezTo>
                  <a:pt x="1536333" y="266636"/>
                  <a:pt x="1459535" y="343434"/>
                  <a:pt x="1364799" y="343434"/>
                </a:cubicBezTo>
                <a:lnTo>
                  <a:pt x="1193265" y="343434"/>
                </a:lnTo>
                <a:lnTo>
                  <a:pt x="339549" y="343434"/>
                </a:lnTo>
                <a:lnTo>
                  <a:pt x="339549" y="343068"/>
                </a:lnTo>
                <a:lnTo>
                  <a:pt x="171534" y="343068"/>
                </a:lnTo>
                <a:cubicBezTo>
                  <a:pt x="76798" y="343068"/>
                  <a:pt x="0" y="266270"/>
                  <a:pt x="0" y="171534"/>
                </a:cubicBezTo>
                <a:cubicBezTo>
                  <a:pt x="0" y="76798"/>
                  <a:pt x="76798" y="0"/>
                  <a:pt x="171534" y="0"/>
                </a:cubicBezTo>
                <a:close/>
              </a:path>
            </a:pathLst>
          </a:custGeom>
          <a:solidFill>
            <a:schemeClr val="accent6"/>
          </a:solidFill>
        </p:spPr>
        <p:txBody>
          <a:bodyPr wrap="square" rIns="182880">
            <a:noAutofit/>
          </a:bodyPr>
          <a:lstStyle>
            <a:lvl1pPr marL="0" indent="0" algn="ctr">
              <a:lnSpc>
                <a:spcPct val="100000"/>
              </a:lnSpc>
              <a:buNone/>
              <a:defRPr sz="1350">
                <a:solidFill>
                  <a:schemeClr val="bg1"/>
                </a:solidFill>
              </a:defRPr>
            </a:lvl1pPr>
          </a:lstStyle>
          <a:p>
            <a:pPr lvl="0"/>
            <a:r>
              <a:rPr lang="en-US"/>
              <a:t>Time</a:t>
            </a:r>
          </a:p>
        </p:txBody>
      </p:sp>
      <p:sp>
        <p:nvSpPr>
          <p:cNvPr id="19" name="Text Placeholder 18">
            <a:extLst>
              <a:ext uri="{FF2B5EF4-FFF2-40B4-BE49-F238E27FC236}">
                <a16:creationId xmlns:a16="http://schemas.microsoft.com/office/drawing/2014/main" id="{B9DB8B3E-9007-385B-8177-800AD9427E56}"/>
              </a:ext>
            </a:extLst>
          </p:cNvPr>
          <p:cNvSpPr>
            <a:spLocks noGrp="1"/>
          </p:cNvSpPr>
          <p:nvPr>
            <p:ph type="body" sz="quarter" idx="18" hasCustomPrompt="1"/>
          </p:nvPr>
        </p:nvSpPr>
        <p:spPr>
          <a:xfrm>
            <a:off x="1411110" y="4656002"/>
            <a:ext cx="1152250" cy="343434"/>
          </a:xfrm>
          <a:custGeom>
            <a:avLst/>
            <a:gdLst>
              <a:gd name="connsiteX0" fmla="*/ 171534 w 1536333"/>
              <a:gd name="connsiteY0" fmla="*/ 0 h 343434"/>
              <a:gd name="connsiteX1" fmla="*/ 343069 w 1536333"/>
              <a:gd name="connsiteY1" fmla="*/ 0 h 343434"/>
              <a:gd name="connsiteX2" fmla="*/ 343069 w 1536333"/>
              <a:gd name="connsiteY2" fmla="*/ 91 h 343434"/>
              <a:gd name="connsiteX3" fmla="*/ 1193265 w 1536333"/>
              <a:gd name="connsiteY3" fmla="*/ 91 h 343434"/>
              <a:gd name="connsiteX4" fmla="*/ 1193265 w 1536333"/>
              <a:gd name="connsiteY4" fmla="*/ 366 h 343434"/>
              <a:gd name="connsiteX5" fmla="*/ 1364799 w 1536333"/>
              <a:gd name="connsiteY5" fmla="*/ 366 h 343434"/>
              <a:gd name="connsiteX6" fmla="*/ 1536333 w 1536333"/>
              <a:gd name="connsiteY6" fmla="*/ 171900 h 343434"/>
              <a:gd name="connsiteX7" fmla="*/ 1364799 w 1536333"/>
              <a:gd name="connsiteY7" fmla="*/ 343434 h 343434"/>
              <a:gd name="connsiteX8" fmla="*/ 1193265 w 1536333"/>
              <a:gd name="connsiteY8" fmla="*/ 343434 h 343434"/>
              <a:gd name="connsiteX9" fmla="*/ 339549 w 1536333"/>
              <a:gd name="connsiteY9" fmla="*/ 343434 h 343434"/>
              <a:gd name="connsiteX10" fmla="*/ 339549 w 1536333"/>
              <a:gd name="connsiteY10" fmla="*/ 343068 h 343434"/>
              <a:gd name="connsiteX11" fmla="*/ 171534 w 1536333"/>
              <a:gd name="connsiteY11" fmla="*/ 343068 h 343434"/>
              <a:gd name="connsiteX12" fmla="*/ 0 w 1536333"/>
              <a:gd name="connsiteY12" fmla="*/ 171534 h 343434"/>
              <a:gd name="connsiteX13" fmla="*/ 171534 w 1536333"/>
              <a:gd name="connsiteY13" fmla="*/ 0 h 3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36333" h="343434">
                <a:moveTo>
                  <a:pt x="171534" y="0"/>
                </a:moveTo>
                <a:lnTo>
                  <a:pt x="343069" y="0"/>
                </a:lnTo>
                <a:lnTo>
                  <a:pt x="343069" y="91"/>
                </a:lnTo>
                <a:lnTo>
                  <a:pt x="1193265" y="91"/>
                </a:lnTo>
                <a:lnTo>
                  <a:pt x="1193265" y="366"/>
                </a:lnTo>
                <a:lnTo>
                  <a:pt x="1364799" y="366"/>
                </a:lnTo>
                <a:cubicBezTo>
                  <a:pt x="1459535" y="366"/>
                  <a:pt x="1536333" y="77164"/>
                  <a:pt x="1536333" y="171900"/>
                </a:cubicBezTo>
                <a:cubicBezTo>
                  <a:pt x="1536333" y="266636"/>
                  <a:pt x="1459535" y="343434"/>
                  <a:pt x="1364799" y="343434"/>
                </a:cubicBezTo>
                <a:lnTo>
                  <a:pt x="1193265" y="343434"/>
                </a:lnTo>
                <a:lnTo>
                  <a:pt x="339549" y="343434"/>
                </a:lnTo>
                <a:lnTo>
                  <a:pt x="339549" y="343068"/>
                </a:lnTo>
                <a:lnTo>
                  <a:pt x="171534" y="343068"/>
                </a:lnTo>
                <a:cubicBezTo>
                  <a:pt x="76798" y="343068"/>
                  <a:pt x="0" y="266270"/>
                  <a:pt x="0" y="171534"/>
                </a:cubicBezTo>
                <a:cubicBezTo>
                  <a:pt x="0" y="76798"/>
                  <a:pt x="76798" y="0"/>
                  <a:pt x="171534" y="0"/>
                </a:cubicBezTo>
                <a:close/>
              </a:path>
            </a:pathLst>
          </a:custGeom>
          <a:solidFill>
            <a:schemeClr val="accent5"/>
          </a:solidFill>
        </p:spPr>
        <p:txBody>
          <a:bodyPr wrap="square" rIns="182880">
            <a:noAutofit/>
          </a:bodyPr>
          <a:lstStyle>
            <a:lvl1pPr marL="0" indent="0" algn="ctr">
              <a:lnSpc>
                <a:spcPct val="100000"/>
              </a:lnSpc>
              <a:buNone/>
              <a:defRPr sz="1350">
                <a:solidFill>
                  <a:schemeClr val="bg1"/>
                </a:solidFill>
              </a:defRPr>
            </a:lvl1pPr>
          </a:lstStyle>
          <a:p>
            <a:pPr lvl="0"/>
            <a:r>
              <a:rPr lang="en-US"/>
              <a:t>Time</a:t>
            </a:r>
          </a:p>
        </p:txBody>
      </p:sp>
      <p:sp>
        <p:nvSpPr>
          <p:cNvPr id="20" name="Text Placeholder 19">
            <a:extLst>
              <a:ext uri="{FF2B5EF4-FFF2-40B4-BE49-F238E27FC236}">
                <a16:creationId xmlns:a16="http://schemas.microsoft.com/office/drawing/2014/main" id="{9EF9D4FF-13A3-F309-0814-2187BA685B01}"/>
              </a:ext>
            </a:extLst>
          </p:cNvPr>
          <p:cNvSpPr>
            <a:spLocks noGrp="1"/>
          </p:cNvSpPr>
          <p:nvPr>
            <p:ph type="body" sz="quarter" idx="19" hasCustomPrompt="1"/>
          </p:nvPr>
        </p:nvSpPr>
        <p:spPr>
          <a:xfrm>
            <a:off x="1411110" y="5248656"/>
            <a:ext cx="1152250" cy="343434"/>
          </a:xfrm>
          <a:custGeom>
            <a:avLst/>
            <a:gdLst>
              <a:gd name="connsiteX0" fmla="*/ 171534 w 1536333"/>
              <a:gd name="connsiteY0" fmla="*/ 0 h 343434"/>
              <a:gd name="connsiteX1" fmla="*/ 343069 w 1536333"/>
              <a:gd name="connsiteY1" fmla="*/ 0 h 343434"/>
              <a:gd name="connsiteX2" fmla="*/ 343069 w 1536333"/>
              <a:gd name="connsiteY2" fmla="*/ 91 h 343434"/>
              <a:gd name="connsiteX3" fmla="*/ 1193265 w 1536333"/>
              <a:gd name="connsiteY3" fmla="*/ 91 h 343434"/>
              <a:gd name="connsiteX4" fmla="*/ 1193265 w 1536333"/>
              <a:gd name="connsiteY4" fmla="*/ 366 h 343434"/>
              <a:gd name="connsiteX5" fmla="*/ 1364799 w 1536333"/>
              <a:gd name="connsiteY5" fmla="*/ 366 h 343434"/>
              <a:gd name="connsiteX6" fmla="*/ 1536333 w 1536333"/>
              <a:gd name="connsiteY6" fmla="*/ 171900 h 343434"/>
              <a:gd name="connsiteX7" fmla="*/ 1364799 w 1536333"/>
              <a:gd name="connsiteY7" fmla="*/ 343434 h 343434"/>
              <a:gd name="connsiteX8" fmla="*/ 1193265 w 1536333"/>
              <a:gd name="connsiteY8" fmla="*/ 343434 h 343434"/>
              <a:gd name="connsiteX9" fmla="*/ 339549 w 1536333"/>
              <a:gd name="connsiteY9" fmla="*/ 343434 h 343434"/>
              <a:gd name="connsiteX10" fmla="*/ 339549 w 1536333"/>
              <a:gd name="connsiteY10" fmla="*/ 343068 h 343434"/>
              <a:gd name="connsiteX11" fmla="*/ 171534 w 1536333"/>
              <a:gd name="connsiteY11" fmla="*/ 343068 h 343434"/>
              <a:gd name="connsiteX12" fmla="*/ 0 w 1536333"/>
              <a:gd name="connsiteY12" fmla="*/ 171534 h 343434"/>
              <a:gd name="connsiteX13" fmla="*/ 171534 w 1536333"/>
              <a:gd name="connsiteY13" fmla="*/ 0 h 34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36333" h="343434">
                <a:moveTo>
                  <a:pt x="171534" y="0"/>
                </a:moveTo>
                <a:lnTo>
                  <a:pt x="343069" y="0"/>
                </a:lnTo>
                <a:lnTo>
                  <a:pt x="343069" y="91"/>
                </a:lnTo>
                <a:lnTo>
                  <a:pt x="1193265" y="91"/>
                </a:lnTo>
                <a:lnTo>
                  <a:pt x="1193265" y="366"/>
                </a:lnTo>
                <a:lnTo>
                  <a:pt x="1364799" y="366"/>
                </a:lnTo>
                <a:cubicBezTo>
                  <a:pt x="1459535" y="366"/>
                  <a:pt x="1536333" y="77164"/>
                  <a:pt x="1536333" y="171900"/>
                </a:cubicBezTo>
                <a:cubicBezTo>
                  <a:pt x="1536333" y="266636"/>
                  <a:pt x="1459535" y="343434"/>
                  <a:pt x="1364799" y="343434"/>
                </a:cubicBezTo>
                <a:lnTo>
                  <a:pt x="1193265" y="343434"/>
                </a:lnTo>
                <a:lnTo>
                  <a:pt x="339549" y="343434"/>
                </a:lnTo>
                <a:lnTo>
                  <a:pt x="339549" y="343068"/>
                </a:lnTo>
                <a:lnTo>
                  <a:pt x="171534" y="343068"/>
                </a:lnTo>
                <a:cubicBezTo>
                  <a:pt x="76798" y="343068"/>
                  <a:pt x="0" y="266270"/>
                  <a:pt x="0" y="171534"/>
                </a:cubicBezTo>
                <a:cubicBezTo>
                  <a:pt x="0" y="76798"/>
                  <a:pt x="76798" y="0"/>
                  <a:pt x="171534" y="0"/>
                </a:cubicBezTo>
                <a:close/>
              </a:path>
            </a:pathLst>
          </a:custGeom>
          <a:solidFill>
            <a:schemeClr val="accent4"/>
          </a:solidFill>
        </p:spPr>
        <p:txBody>
          <a:bodyPr wrap="square" rIns="182880">
            <a:noAutofit/>
          </a:bodyPr>
          <a:lstStyle>
            <a:lvl1pPr marL="0" indent="0" algn="ctr">
              <a:lnSpc>
                <a:spcPct val="100000"/>
              </a:lnSpc>
              <a:buNone/>
              <a:defRPr sz="1350">
                <a:solidFill>
                  <a:schemeClr val="bg1"/>
                </a:solidFill>
              </a:defRPr>
            </a:lvl1pPr>
          </a:lstStyle>
          <a:p>
            <a:pPr lvl="0"/>
            <a:r>
              <a:rPr lang="en-US"/>
              <a:t>Time</a:t>
            </a:r>
          </a:p>
        </p:txBody>
      </p:sp>
      <p:sp>
        <p:nvSpPr>
          <p:cNvPr id="22" name="Text Placeholder 21">
            <a:extLst>
              <a:ext uri="{FF2B5EF4-FFF2-40B4-BE49-F238E27FC236}">
                <a16:creationId xmlns:a16="http://schemas.microsoft.com/office/drawing/2014/main" id="{04383E88-836C-CD34-5C4B-3F0AAF118A66}"/>
              </a:ext>
            </a:extLst>
          </p:cNvPr>
          <p:cNvSpPr>
            <a:spLocks noGrp="1"/>
          </p:cNvSpPr>
          <p:nvPr>
            <p:ph type="body" sz="quarter" idx="20"/>
          </p:nvPr>
        </p:nvSpPr>
        <p:spPr>
          <a:xfrm>
            <a:off x="2640330" y="1636776"/>
            <a:ext cx="5218938" cy="466344"/>
          </a:xfrm>
        </p:spPr>
        <p:txBody>
          <a:bodyPr>
            <a:noAutofit/>
          </a:bodyPr>
          <a:lstStyle>
            <a:lvl1pPr marL="0" indent="0">
              <a:lnSpc>
                <a:spcPct val="100000"/>
              </a:lnSpc>
              <a:buNone/>
              <a:defRPr sz="1800"/>
            </a:lvl1pPr>
          </a:lstStyle>
          <a:p>
            <a:pPr lvl="0"/>
            <a:r>
              <a:rPr lang="en-US"/>
              <a:t>Click to edit Master text styles</a:t>
            </a:r>
          </a:p>
        </p:txBody>
      </p:sp>
      <p:sp>
        <p:nvSpPr>
          <p:cNvPr id="23" name="Text Placeholder 21">
            <a:extLst>
              <a:ext uri="{FF2B5EF4-FFF2-40B4-BE49-F238E27FC236}">
                <a16:creationId xmlns:a16="http://schemas.microsoft.com/office/drawing/2014/main" id="{53CC4C9F-F232-4415-9118-28602D1280E9}"/>
              </a:ext>
            </a:extLst>
          </p:cNvPr>
          <p:cNvSpPr>
            <a:spLocks noGrp="1"/>
          </p:cNvSpPr>
          <p:nvPr>
            <p:ph type="body" sz="quarter" idx="21"/>
          </p:nvPr>
        </p:nvSpPr>
        <p:spPr>
          <a:xfrm>
            <a:off x="2640330" y="2231136"/>
            <a:ext cx="5218938" cy="466344"/>
          </a:xfrm>
        </p:spPr>
        <p:txBody>
          <a:bodyPr>
            <a:noAutofit/>
          </a:bodyPr>
          <a:lstStyle>
            <a:lvl1pPr marL="0" indent="0">
              <a:lnSpc>
                <a:spcPct val="100000"/>
              </a:lnSpc>
              <a:buNone/>
              <a:defRPr sz="1800"/>
            </a:lvl1pPr>
          </a:lstStyle>
          <a:p>
            <a:pPr lvl="0"/>
            <a:r>
              <a:rPr lang="en-US"/>
              <a:t>Click to edit Master text styles</a:t>
            </a:r>
          </a:p>
        </p:txBody>
      </p:sp>
      <p:sp>
        <p:nvSpPr>
          <p:cNvPr id="24" name="Text Placeholder 21">
            <a:extLst>
              <a:ext uri="{FF2B5EF4-FFF2-40B4-BE49-F238E27FC236}">
                <a16:creationId xmlns:a16="http://schemas.microsoft.com/office/drawing/2014/main" id="{5D8B209B-4BCE-6BD8-63D1-CC7CE0AA802F}"/>
              </a:ext>
            </a:extLst>
          </p:cNvPr>
          <p:cNvSpPr>
            <a:spLocks noGrp="1"/>
          </p:cNvSpPr>
          <p:nvPr>
            <p:ph type="body" sz="quarter" idx="22"/>
          </p:nvPr>
        </p:nvSpPr>
        <p:spPr>
          <a:xfrm>
            <a:off x="2640330" y="2825496"/>
            <a:ext cx="5218938" cy="466344"/>
          </a:xfrm>
        </p:spPr>
        <p:txBody>
          <a:bodyPr>
            <a:noAutofit/>
          </a:bodyPr>
          <a:lstStyle>
            <a:lvl1pPr marL="0" indent="0">
              <a:lnSpc>
                <a:spcPct val="100000"/>
              </a:lnSpc>
              <a:buNone/>
              <a:defRPr sz="1800"/>
            </a:lvl1pPr>
          </a:lstStyle>
          <a:p>
            <a:pPr lvl="0"/>
            <a:r>
              <a:rPr lang="en-US"/>
              <a:t>Click to edit Master text styles</a:t>
            </a:r>
          </a:p>
        </p:txBody>
      </p:sp>
      <p:sp>
        <p:nvSpPr>
          <p:cNvPr id="25" name="Text Placeholder 21">
            <a:extLst>
              <a:ext uri="{FF2B5EF4-FFF2-40B4-BE49-F238E27FC236}">
                <a16:creationId xmlns:a16="http://schemas.microsoft.com/office/drawing/2014/main" id="{5FCA2773-BB1C-BDED-1C57-09A106D0AF08}"/>
              </a:ext>
            </a:extLst>
          </p:cNvPr>
          <p:cNvSpPr>
            <a:spLocks noGrp="1"/>
          </p:cNvSpPr>
          <p:nvPr>
            <p:ph type="body" sz="quarter" idx="23"/>
          </p:nvPr>
        </p:nvSpPr>
        <p:spPr>
          <a:xfrm>
            <a:off x="2640330" y="3419856"/>
            <a:ext cx="5218938" cy="466344"/>
          </a:xfrm>
        </p:spPr>
        <p:txBody>
          <a:bodyPr>
            <a:noAutofit/>
          </a:bodyPr>
          <a:lstStyle>
            <a:lvl1pPr marL="0" indent="0">
              <a:lnSpc>
                <a:spcPct val="100000"/>
              </a:lnSpc>
              <a:buNone/>
              <a:defRPr sz="1800"/>
            </a:lvl1pPr>
          </a:lstStyle>
          <a:p>
            <a:pPr lvl="0"/>
            <a:r>
              <a:rPr lang="en-US"/>
              <a:t>Click to edit Master text styles</a:t>
            </a:r>
          </a:p>
        </p:txBody>
      </p:sp>
      <p:sp>
        <p:nvSpPr>
          <p:cNvPr id="26" name="Text Placeholder 21">
            <a:extLst>
              <a:ext uri="{FF2B5EF4-FFF2-40B4-BE49-F238E27FC236}">
                <a16:creationId xmlns:a16="http://schemas.microsoft.com/office/drawing/2014/main" id="{F38CB0D3-C990-7F5C-A633-AA9302BB3540}"/>
              </a:ext>
            </a:extLst>
          </p:cNvPr>
          <p:cNvSpPr>
            <a:spLocks noGrp="1"/>
          </p:cNvSpPr>
          <p:nvPr>
            <p:ph type="body" sz="quarter" idx="24"/>
          </p:nvPr>
        </p:nvSpPr>
        <p:spPr>
          <a:xfrm>
            <a:off x="2640330" y="4014216"/>
            <a:ext cx="5218938" cy="466344"/>
          </a:xfrm>
        </p:spPr>
        <p:txBody>
          <a:bodyPr>
            <a:noAutofit/>
          </a:bodyPr>
          <a:lstStyle>
            <a:lvl1pPr marL="0" indent="0">
              <a:lnSpc>
                <a:spcPct val="100000"/>
              </a:lnSpc>
              <a:buNone/>
              <a:defRPr sz="1800"/>
            </a:lvl1pPr>
          </a:lstStyle>
          <a:p>
            <a:pPr lvl="0"/>
            <a:r>
              <a:rPr lang="en-US"/>
              <a:t>Click to edit Master text styles</a:t>
            </a:r>
          </a:p>
        </p:txBody>
      </p:sp>
      <p:sp>
        <p:nvSpPr>
          <p:cNvPr id="27" name="Text Placeholder 21">
            <a:extLst>
              <a:ext uri="{FF2B5EF4-FFF2-40B4-BE49-F238E27FC236}">
                <a16:creationId xmlns:a16="http://schemas.microsoft.com/office/drawing/2014/main" id="{FCB50D60-CB07-EDD6-072A-081F90BC31A6}"/>
              </a:ext>
            </a:extLst>
          </p:cNvPr>
          <p:cNvSpPr>
            <a:spLocks noGrp="1"/>
          </p:cNvSpPr>
          <p:nvPr>
            <p:ph type="body" sz="quarter" idx="25"/>
          </p:nvPr>
        </p:nvSpPr>
        <p:spPr>
          <a:xfrm>
            <a:off x="2640330" y="4608576"/>
            <a:ext cx="5218938" cy="466344"/>
          </a:xfrm>
        </p:spPr>
        <p:txBody>
          <a:bodyPr>
            <a:noAutofit/>
          </a:bodyPr>
          <a:lstStyle>
            <a:lvl1pPr marL="0" indent="0">
              <a:lnSpc>
                <a:spcPct val="100000"/>
              </a:lnSpc>
              <a:buNone/>
              <a:defRPr sz="1800"/>
            </a:lvl1pPr>
          </a:lstStyle>
          <a:p>
            <a:pPr lvl="0"/>
            <a:r>
              <a:rPr lang="en-US"/>
              <a:t>Click to edit Master text styles</a:t>
            </a:r>
          </a:p>
        </p:txBody>
      </p:sp>
      <p:sp>
        <p:nvSpPr>
          <p:cNvPr id="28" name="Text Placeholder 21">
            <a:extLst>
              <a:ext uri="{FF2B5EF4-FFF2-40B4-BE49-F238E27FC236}">
                <a16:creationId xmlns:a16="http://schemas.microsoft.com/office/drawing/2014/main" id="{190BCFF5-443F-8135-EAA8-9824F88360AE}"/>
              </a:ext>
            </a:extLst>
          </p:cNvPr>
          <p:cNvSpPr>
            <a:spLocks noGrp="1"/>
          </p:cNvSpPr>
          <p:nvPr>
            <p:ph type="body" sz="quarter" idx="26"/>
          </p:nvPr>
        </p:nvSpPr>
        <p:spPr>
          <a:xfrm>
            <a:off x="2640330" y="5202936"/>
            <a:ext cx="5218938" cy="466344"/>
          </a:xfrm>
        </p:spPr>
        <p:txBody>
          <a:bodyPr>
            <a:noAutofit/>
          </a:bodyPr>
          <a:lstStyle>
            <a:lvl1pPr marL="0" indent="0">
              <a:lnSpc>
                <a:spcPct val="100000"/>
              </a:lnSpc>
              <a:buNone/>
              <a:defRPr sz="1800"/>
            </a:lvl1pPr>
          </a:lstStyle>
          <a:p>
            <a:pPr lvl="0"/>
            <a:r>
              <a:rPr lang="en-US"/>
              <a:t>Click to edit Master text styles</a:t>
            </a:r>
          </a:p>
        </p:txBody>
      </p:sp>
      <p:sp>
        <p:nvSpPr>
          <p:cNvPr id="29" name="Slide Number Placeholder 47">
            <a:extLst>
              <a:ext uri="{FF2B5EF4-FFF2-40B4-BE49-F238E27FC236}">
                <a16:creationId xmlns:a16="http://schemas.microsoft.com/office/drawing/2014/main" id="{3D6EB8CA-3E97-2203-B243-CF8914F5EDBE}"/>
              </a:ext>
            </a:extLst>
          </p:cNvPr>
          <p:cNvSpPr>
            <a:spLocks noGrp="1"/>
          </p:cNvSpPr>
          <p:nvPr>
            <p:ph type="sldNum" sz="quarter" idx="12"/>
          </p:nvPr>
        </p:nvSpPr>
        <p:spPr>
          <a:xfrm>
            <a:off x="8620295" y="6232422"/>
            <a:ext cx="263185" cy="338960"/>
          </a:xfrm>
          <a:custGeom>
            <a:avLst/>
            <a:gdLst>
              <a:gd name="connsiteX0" fmla="*/ 154845 w 350913"/>
              <a:gd name="connsiteY0" fmla="*/ 22 h 338960"/>
              <a:gd name="connsiteX1" fmla="*/ 340005 w 350913"/>
              <a:gd name="connsiteY1" fmla="*/ 221278 h 338960"/>
              <a:gd name="connsiteX2" fmla="*/ 10634 w 350913"/>
              <a:gd name="connsiteY2" fmla="*/ 289178 h 338960"/>
              <a:gd name="connsiteX3" fmla="*/ 119488 w 350913"/>
              <a:gd name="connsiteY3" fmla="*/ 4155 h 338960"/>
              <a:gd name="connsiteX4" fmla="*/ 154845 w 350913"/>
              <a:gd name="connsiteY4" fmla="*/ 22 h 338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913" h="338960">
                <a:moveTo>
                  <a:pt x="154845" y="22"/>
                </a:moveTo>
                <a:cubicBezTo>
                  <a:pt x="246677" y="-1293"/>
                  <a:pt x="391912" y="57780"/>
                  <a:pt x="340005" y="221278"/>
                </a:cubicBezTo>
                <a:cubicBezTo>
                  <a:pt x="280684" y="408133"/>
                  <a:pt x="47387" y="325365"/>
                  <a:pt x="10634" y="289178"/>
                </a:cubicBezTo>
                <a:cubicBezTo>
                  <a:pt x="-26119" y="252991"/>
                  <a:pt x="37818" y="24351"/>
                  <a:pt x="119488" y="4155"/>
                </a:cubicBezTo>
                <a:cubicBezTo>
                  <a:pt x="129697" y="1631"/>
                  <a:pt x="141726" y="210"/>
                  <a:pt x="154845" y="22"/>
                </a:cubicBezTo>
                <a:close/>
              </a:path>
            </a:pathLst>
          </a:custGeom>
          <a:ln w="12700">
            <a:solidFill>
              <a:schemeClr val="accent4"/>
            </a:solidFill>
          </a:ln>
        </p:spPr>
        <p:txBody>
          <a:bodyPr wrap="square">
            <a:noAutofit/>
          </a:bodyPr>
          <a:lstStyle>
            <a:lvl1pPr algn="ctr">
              <a:defRPr/>
            </a:lvl1pPr>
          </a:lstStyle>
          <a:p>
            <a:fld id="{294A09A9-5501-47C1-A89A-A340965A2BE2}" type="slidenum">
              <a:rPr lang="en-US" smtClean="0"/>
              <a:pPr/>
              <a:t>‹#›</a:t>
            </a:fld>
            <a:endParaRPr lang="en-US"/>
          </a:p>
        </p:txBody>
      </p:sp>
      <p:sp>
        <p:nvSpPr>
          <p:cNvPr id="30" name="Footer Placeholder 5">
            <a:extLst>
              <a:ext uri="{FF2B5EF4-FFF2-40B4-BE49-F238E27FC236}">
                <a16:creationId xmlns:a16="http://schemas.microsoft.com/office/drawing/2014/main" id="{53128DA0-531E-7131-B5DA-D9EC1CEABF7C}"/>
              </a:ext>
            </a:extLst>
          </p:cNvPr>
          <p:cNvSpPr>
            <a:spLocks noGrp="1"/>
          </p:cNvSpPr>
          <p:nvPr>
            <p:ph type="ftr" sz="quarter" idx="11"/>
          </p:nvPr>
        </p:nvSpPr>
        <p:spPr>
          <a:xfrm>
            <a:off x="294894" y="6281928"/>
            <a:ext cx="1837944" cy="274320"/>
          </a:xfrm>
          <a:prstGeom prst="rect">
            <a:avLst/>
          </a:prstGeom>
        </p:spPr>
        <p:txBody>
          <a:bodyPr>
            <a:noAutofit/>
          </a:bodyPr>
          <a:lstStyle>
            <a:lvl1pPr algn="l">
              <a:defRPr/>
            </a:lvl1pPr>
          </a:lstStyle>
          <a:p>
            <a:r>
              <a:rPr lang="en-US"/>
              <a:t>Contoso grand opening event</a:t>
            </a:r>
          </a:p>
        </p:txBody>
      </p:sp>
      <p:sp>
        <p:nvSpPr>
          <p:cNvPr id="3" name="Text Placeholder 87">
            <a:extLst>
              <a:ext uri="{FF2B5EF4-FFF2-40B4-BE49-F238E27FC236}">
                <a16:creationId xmlns:a16="http://schemas.microsoft.com/office/drawing/2014/main" id="{EEA784EF-3E6A-9E38-B8AC-FDA8B693DC4D}"/>
              </a:ext>
            </a:extLst>
          </p:cNvPr>
          <p:cNvSpPr>
            <a:spLocks noGrp="1"/>
          </p:cNvSpPr>
          <p:nvPr>
            <p:ph type="body" sz="quarter" idx="31" hasCustomPrompt="1"/>
          </p:nvPr>
        </p:nvSpPr>
        <p:spPr>
          <a:xfrm>
            <a:off x="2366010" y="1817973"/>
            <a:ext cx="75438" cy="100584"/>
          </a:xfrm>
          <a:custGeom>
            <a:avLst/>
            <a:gdLst>
              <a:gd name="connsiteX0" fmla="*/ 104698 w 209396"/>
              <a:gd name="connsiteY0" fmla="*/ 0 h 209396"/>
              <a:gd name="connsiteX1" fmla="*/ 209396 w 209396"/>
              <a:gd name="connsiteY1" fmla="*/ 104698 h 209396"/>
              <a:gd name="connsiteX2" fmla="*/ 104698 w 209396"/>
              <a:gd name="connsiteY2" fmla="*/ 209396 h 209396"/>
              <a:gd name="connsiteX3" fmla="*/ 0 w 209396"/>
              <a:gd name="connsiteY3" fmla="*/ 104698 h 209396"/>
              <a:gd name="connsiteX4" fmla="*/ 104698 w 209396"/>
              <a:gd name="connsiteY4" fmla="*/ 0 h 209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96" h="209396">
                <a:moveTo>
                  <a:pt x="104698" y="0"/>
                </a:moveTo>
                <a:cubicBezTo>
                  <a:pt x="162521" y="0"/>
                  <a:pt x="209396" y="46875"/>
                  <a:pt x="209396" y="104698"/>
                </a:cubicBezTo>
                <a:cubicBezTo>
                  <a:pt x="209396" y="162521"/>
                  <a:pt x="162521" y="209396"/>
                  <a:pt x="104698" y="209396"/>
                </a:cubicBezTo>
                <a:cubicBezTo>
                  <a:pt x="46875" y="209396"/>
                  <a:pt x="0" y="162521"/>
                  <a:pt x="0" y="104698"/>
                </a:cubicBezTo>
                <a:cubicBezTo>
                  <a:pt x="0" y="46875"/>
                  <a:pt x="46875" y="0"/>
                  <a:pt x="104698" y="0"/>
                </a:cubicBezTo>
                <a:close/>
              </a:path>
            </a:pathLst>
          </a:custGeom>
          <a:solidFill>
            <a:schemeClr val="bg1"/>
          </a:solidFill>
        </p:spPr>
        <p:txBody>
          <a:bodyPr wrap="square" anchor="ctr">
            <a:noAutofit/>
          </a:bodyPr>
          <a:lstStyle>
            <a:lvl1pPr marL="0" indent="0" algn="ctr">
              <a:buNone/>
              <a:defRPr sz="600">
                <a:solidFill>
                  <a:schemeClr val="tx1">
                    <a:alpha val="0"/>
                  </a:schemeClr>
                </a:solidFill>
              </a:defRPr>
            </a:lvl1pPr>
          </a:lstStyle>
          <a:p>
            <a:pPr lvl="0"/>
            <a:r>
              <a:rPr lang="en-US"/>
              <a:t>X</a:t>
            </a:r>
          </a:p>
        </p:txBody>
      </p:sp>
      <p:sp>
        <p:nvSpPr>
          <p:cNvPr id="4" name="Text Placeholder 87">
            <a:extLst>
              <a:ext uri="{FF2B5EF4-FFF2-40B4-BE49-F238E27FC236}">
                <a16:creationId xmlns:a16="http://schemas.microsoft.com/office/drawing/2014/main" id="{5277C7B0-2FFF-0B06-E9B0-6BD8E0CA2610}"/>
              </a:ext>
            </a:extLst>
          </p:cNvPr>
          <p:cNvSpPr>
            <a:spLocks noGrp="1"/>
          </p:cNvSpPr>
          <p:nvPr>
            <p:ph type="body" sz="quarter" idx="32" hasCustomPrompt="1"/>
          </p:nvPr>
        </p:nvSpPr>
        <p:spPr>
          <a:xfrm>
            <a:off x="2366010" y="2407602"/>
            <a:ext cx="75438" cy="100584"/>
          </a:xfrm>
          <a:custGeom>
            <a:avLst/>
            <a:gdLst>
              <a:gd name="connsiteX0" fmla="*/ 104698 w 209396"/>
              <a:gd name="connsiteY0" fmla="*/ 0 h 209396"/>
              <a:gd name="connsiteX1" fmla="*/ 209396 w 209396"/>
              <a:gd name="connsiteY1" fmla="*/ 104698 h 209396"/>
              <a:gd name="connsiteX2" fmla="*/ 104698 w 209396"/>
              <a:gd name="connsiteY2" fmla="*/ 209396 h 209396"/>
              <a:gd name="connsiteX3" fmla="*/ 0 w 209396"/>
              <a:gd name="connsiteY3" fmla="*/ 104698 h 209396"/>
              <a:gd name="connsiteX4" fmla="*/ 104698 w 209396"/>
              <a:gd name="connsiteY4" fmla="*/ 0 h 209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96" h="209396">
                <a:moveTo>
                  <a:pt x="104698" y="0"/>
                </a:moveTo>
                <a:cubicBezTo>
                  <a:pt x="162521" y="0"/>
                  <a:pt x="209396" y="46875"/>
                  <a:pt x="209396" y="104698"/>
                </a:cubicBezTo>
                <a:cubicBezTo>
                  <a:pt x="209396" y="162521"/>
                  <a:pt x="162521" y="209396"/>
                  <a:pt x="104698" y="209396"/>
                </a:cubicBezTo>
                <a:cubicBezTo>
                  <a:pt x="46875" y="209396"/>
                  <a:pt x="0" y="162521"/>
                  <a:pt x="0" y="104698"/>
                </a:cubicBezTo>
                <a:cubicBezTo>
                  <a:pt x="0" y="46875"/>
                  <a:pt x="46875" y="0"/>
                  <a:pt x="104698" y="0"/>
                </a:cubicBezTo>
                <a:close/>
              </a:path>
            </a:pathLst>
          </a:custGeom>
          <a:solidFill>
            <a:schemeClr val="bg1"/>
          </a:solidFill>
        </p:spPr>
        <p:txBody>
          <a:bodyPr wrap="square" anchor="ctr">
            <a:noAutofit/>
          </a:bodyPr>
          <a:lstStyle>
            <a:lvl1pPr marL="0" indent="0" algn="ctr">
              <a:buNone/>
              <a:defRPr sz="600">
                <a:solidFill>
                  <a:schemeClr val="tx1">
                    <a:alpha val="0"/>
                  </a:schemeClr>
                </a:solidFill>
              </a:defRPr>
            </a:lvl1pPr>
          </a:lstStyle>
          <a:p>
            <a:pPr lvl="0"/>
            <a:r>
              <a:rPr lang="en-US"/>
              <a:t>X</a:t>
            </a:r>
          </a:p>
        </p:txBody>
      </p:sp>
      <p:sp>
        <p:nvSpPr>
          <p:cNvPr id="5" name="Text Placeholder 87">
            <a:extLst>
              <a:ext uri="{FF2B5EF4-FFF2-40B4-BE49-F238E27FC236}">
                <a16:creationId xmlns:a16="http://schemas.microsoft.com/office/drawing/2014/main" id="{149A2160-9598-9848-9211-C37363680E14}"/>
              </a:ext>
            </a:extLst>
          </p:cNvPr>
          <p:cNvSpPr>
            <a:spLocks noGrp="1"/>
          </p:cNvSpPr>
          <p:nvPr>
            <p:ph type="body" sz="quarter" idx="33" hasCustomPrompt="1"/>
          </p:nvPr>
        </p:nvSpPr>
        <p:spPr>
          <a:xfrm>
            <a:off x="2366010" y="3006693"/>
            <a:ext cx="75438" cy="100584"/>
          </a:xfrm>
          <a:custGeom>
            <a:avLst/>
            <a:gdLst>
              <a:gd name="connsiteX0" fmla="*/ 104698 w 209396"/>
              <a:gd name="connsiteY0" fmla="*/ 0 h 209396"/>
              <a:gd name="connsiteX1" fmla="*/ 209396 w 209396"/>
              <a:gd name="connsiteY1" fmla="*/ 104698 h 209396"/>
              <a:gd name="connsiteX2" fmla="*/ 104698 w 209396"/>
              <a:gd name="connsiteY2" fmla="*/ 209396 h 209396"/>
              <a:gd name="connsiteX3" fmla="*/ 0 w 209396"/>
              <a:gd name="connsiteY3" fmla="*/ 104698 h 209396"/>
              <a:gd name="connsiteX4" fmla="*/ 104698 w 209396"/>
              <a:gd name="connsiteY4" fmla="*/ 0 h 209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96" h="209396">
                <a:moveTo>
                  <a:pt x="104698" y="0"/>
                </a:moveTo>
                <a:cubicBezTo>
                  <a:pt x="162521" y="0"/>
                  <a:pt x="209396" y="46875"/>
                  <a:pt x="209396" y="104698"/>
                </a:cubicBezTo>
                <a:cubicBezTo>
                  <a:pt x="209396" y="162521"/>
                  <a:pt x="162521" y="209396"/>
                  <a:pt x="104698" y="209396"/>
                </a:cubicBezTo>
                <a:cubicBezTo>
                  <a:pt x="46875" y="209396"/>
                  <a:pt x="0" y="162521"/>
                  <a:pt x="0" y="104698"/>
                </a:cubicBezTo>
                <a:cubicBezTo>
                  <a:pt x="0" y="46875"/>
                  <a:pt x="46875" y="0"/>
                  <a:pt x="104698" y="0"/>
                </a:cubicBezTo>
                <a:close/>
              </a:path>
            </a:pathLst>
          </a:custGeom>
          <a:solidFill>
            <a:schemeClr val="bg1"/>
          </a:solidFill>
        </p:spPr>
        <p:txBody>
          <a:bodyPr wrap="square" anchor="ctr">
            <a:noAutofit/>
          </a:bodyPr>
          <a:lstStyle>
            <a:lvl1pPr marL="0" indent="0" algn="ctr">
              <a:buNone/>
              <a:defRPr sz="600">
                <a:solidFill>
                  <a:schemeClr val="tx1">
                    <a:alpha val="0"/>
                  </a:schemeClr>
                </a:solidFill>
              </a:defRPr>
            </a:lvl1pPr>
          </a:lstStyle>
          <a:p>
            <a:pPr lvl="0"/>
            <a:r>
              <a:rPr lang="en-US"/>
              <a:t>X</a:t>
            </a:r>
          </a:p>
        </p:txBody>
      </p:sp>
      <p:sp>
        <p:nvSpPr>
          <p:cNvPr id="6" name="Text Placeholder 87">
            <a:extLst>
              <a:ext uri="{FF2B5EF4-FFF2-40B4-BE49-F238E27FC236}">
                <a16:creationId xmlns:a16="http://schemas.microsoft.com/office/drawing/2014/main" id="{91EBF4BF-F08B-2CEA-0D2E-98E7E79E5876}"/>
              </a:ext>
            </a:extLst>
          </p:cNvPr>
          <p:cNvSpPr>
            <a:spLocks noGrp="1"/>
          </p:cNvSpPr>
          <p:nvPr>
            <p:ph type="body" sz="quarter" idx="34" hasCustomPrompt="1"/>
          </p:nvPr>
        </p:nvSpPr>
        <p:spPr>
          <a:xfrm>
            <a:off x="2366010" y="3602736"/>
            <a:ext cx="75438" cy="100584"/>
          </a:xfrm>
          <a:custGeom>
            <a:avLst/>
            <a:gdLst>
              <a:gd name="connsiteX0" fmla="*/ 104698 w 209396"/>
              <a:gd name="connsiteY0" fmla="*/ 0 h 209396"/>
              <a:gd name="connsiteX1" fmla="*/ 209396 w 209396"/>
              <a:gd name="connsiteY1" fmla="*/ 104698 h 209396"/>
              <a:gd name="connsiteX2" fmla="*/ 104698 w 209396"/>
              <a:gd name="connsiteY2" fmla="*/ 209396 h 209396"/>
              <a:gd name="connsiteX3" fmla="*/ 0 w 209396"/>
              <a:gd name="connsiteY3" fmla="*/ 104698 h 209396"/>
              <a:gd name="connsiteX4" fmla="*/ 104698 w 209396"/>
              <a:gd name="connsiteY4" fmla="*/ 0 h 209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96" h="209396">
                <a:moveTo>
                  <a:pt x="104698" y="0"/>
                </a:moveTo>
                <a:cubicBezTo>
                  <a:pt x="162521" y="0"/>
                  <a:pt x="209396" y="46875"/>
                  <a:pt x="209396" y="104698"/>
                </a:cubicBezTo>
                <a:cubicBezTo>
                  <a:pt x="209396" y="162521"/>
                  <a:pt x="162521" y="209396"/>
                  <a:pt x="104698" y="209396"/>
                </a:cubicBezTo>
                <a:cubicBezTo>
                  <a:pt x="46875" y="209396"/>
                  <a:pt x="0" y="162521"/>
                  <a:pt x="0" y="104698"/>
                </a:cubicBezTo>
                <a:cubicBezTo>
                  <a:pt x="0" y="46875"/>
                  <a:pt x="46875" y="0"/>
                  <a:pt x="104698" y="0"/>
                </a:cubicBezTo>
                <a:close/>
              </a:path>
            </a:pathLst>
          </a:custGeom>
          <a:solidFill>
            <a:schemeClr val="bg1"/>
          </a:solidFill>
        </p:spPr>
        <p:txBody>
          <a:bodyPr wrap="square" anchor="ctr">
            <a:noAutofit/>
          </a:bodyPr>
          <a:lstStyle>
            <a:lvl1pPr marL="0" indent="0" algn="ctr">
              <a:buNone/>
              <a:defRPr sz="600">
                <a:solidFill>
                  <a:schemeClr val="tx1">
                    <a:alpha val="0"/>
                  </a:schemeClr>
                </a:solidFill>
              </a:defRPr>
            </a:lvl1pPr>
          </a:lstStyle>
          <a:p>
            <a:pPr lvl="0"/>
            <a:r>
              <a:rPr lang="en-US"/>
              <a:t>X</a:t>
            </a:r>
          </a:p>
        </p:txBody>
      </p:sp>
      <p:sp>
        <p:nvSpPr>
          <p:cNvPr id="7" name="Text Placeholder 87">
            <a:extLst>
              <a:ext uri="{FF2B5EF4-FFF2-40B4-BE49-F238E27FC236}">
                <a16:creationId xmlns:a16="http://schemas.microsoft.com/office/drawing/2014/main" id="{4E881374-20C5-943C-FBFF-01633C0C5A19}"/>
              </a:ext>
            </a:extLst>
          </p:cNvPr>
          <p:cNvSpPr>
            <a:spLocks noGrp="1"/>
          </p:cNvSpPr>
          <p:nvPr>
            <p:ph type="body" sz="quarter" idx="35" hasCustomPrompt="1"/>
          </p:nvPr>
        </p:nvSpPr>
        <p:spPr>
          <a:xfrm>
            <a:off x="2366010" y="4184774"/>
            <a:ext cx="75438" cy="100584"/>
          </a:xfrm>
          <a:custGeom>
            <a:avLst/>
            <a:gdLst>
              <a:gd name="connsiteX0" fmla="*/ 104698 w 209396"/>
              <a:gd name="connsiteY0" fmla="*/ 0 h 209396"/>
              <a:gd name="connsiteX1" fmla="*/ 209396 w 209396"/>
              <a:gd name="connsiteY1" fmla="*/ 104698 h 209396"/>
              <a:gd name="connsiteX2" fmla="*/ 104698 w 209396"/>
              <a:gd name="connsiteY2" fmla="*/ 209396 h 209396"/>
              <a:gd name="connsiteX3" fmla="*/ 0 w 209396"/>
              <a:gd name="connsiteY3" fmla="*/ 104698 h 209396"/>
              <a:gd name="connsiteX4" fmla="*/ 104698 w 209396"/>
              <a:gd name="connsiteY4" fmla="*/ 0 h 209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96" h="209396">
                <a:moveTo>
                  <a:pt x="104698" y="0"/>
                </a:moveTo>
                <a:cubicBezTo>
                  <a:pt x="162521" y="0"/>
                  <a:pt x="209396" y="46875"/>
                  <a:pt x="209396" y="104698"/>
                </a:cubicBezTo>
                <a:cubicBezTo>
                  <a:pt x="209396" y="162521"/>
                  <a:pt x="162521" y="209396"/>
                  <a:pt x="104698" y="209396"/>
                </a:cubicBezTo>
                <a:cubicBezTo>
                  <a:pt x="46875" y="209396"/>
                  <a:pt x="0" y="162521"/>
                  <a:pt x="0" y="104698"/>
                </a:cubicBezTo>
                <a:cubicBezTo>
                  <a:pt x="0" y="46875"/>
                  <a:pt x="46875" y="0"/>
                  <a:pt x="104698" y="0"/>
                </a:cubicBezTo>
                <a:close/>
              </a:path>
            </a:pathLst>
          </a:custGeom>
          <a:solidFill>
            <a:schemeClr val="bg1"/>
          </a:solidFill>
        </p:spPr>
        <p:txBody>
          <a:bodyPr wrap="square" anchor="ctr">
            <a:noAutofit/>
          </a:bodyPr>
          <a:lstStyle>
            <a:lvl1pPr marL="0" indent="0" algn="ctr">
              <a:buNone/>
              <a:defRPr sz="600">
                <a:solidFill>
                  <a:schemeClr val="tx1">
                    <a:alpha val="0"/>
                  </a:schemeClr>
                </a:solidFill>
              </a:defRPr>
            </a:lvl1pPr>
          </a:lstStyle>
          <a:p>
            <a:pPr lvl="0"/>
            <a:r>
              <a:rPr lang="en-US"/>
              <a:t>X</a:t>
            </a:r>
          </a:p>
        </p:txBody>
      </p:sp>
      <p:sp>
        <p:nvSpPr>
          <p:cNvPr id="8" name="Text Placeholder 87">
            <a:extLst>
              <a:ext uri="{FF2B5EF4-FFF2-40B4-BE49-F238E27FC236}">
                <a16:creationId xmlns:a16="http://schemas.microsoft.com/office/drawing/2014/main" id="{CE37C895-FC39-62C3-6D17-38E9E86C29A9}"/>
              </a:ext>
            </a:extLst>
          </p:cNvPr>
          <p:cNvSpPr>
            <a:spLocks noGrp="1"/>
          </p:cNvSpPr>
          <p:nvPr>
            <p:ph type="body" sz="quarter" idx="36" hasCustomPrompt="1"/>
          </p:nvPr>
        </p:nvSpPr>
        <p:spPr>
          <a:xfrm>
            <a:off x="2366010" y="4777427"/>
            <a:ext cx="75438" cy="100584"/>
          </a:xfrm>
          <a:custGeom>
            <a:avLst/>
            <a:gdLst>
              <a:gd name="connsiteX0" fmla="*/ 104698 w 209396"/>
              <a:gd name="connsiteY0" fmla="*/ 0 h 209396"/>
              <a:gd name="connsiteX1" fmla="*/ 209396 w 209396"/>
              <a:gd name="connsiteY1" fmla="*/ 104698 h 209396"/>
              <a:gd name="connsiteX2" fmla="*/ 104698 w 209396"/>
              <a:gd name="connsiteY2" fmla="*/ 209396 h 209396"/>
              <a:gd name="connsiteX3" fmla="*/ 0 w 209396"/>
              <a:gd name="connsiteY3" fmla="*/ 104698 h 209396"/>
              <a:gd name="connsiteX4" fmla="*/ 104698 w 209396"/>
              <a:gd name="connsiteY4" fmla="*/ 0 h 209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96" h="209396">
                <a:moveTo>
                  <a:pt x="104698" y="0"/>
                </a:moveTo>
                <a:cubicBezTo>
                  <a:pt x="162521" y="0"/>
                  <a:pt x="209396" y="46875"/>
                  <a:pt x="209396" y="104698"/>
                </a:cubicBezTo>
                <a:cubicBezTo>
                  <a:pt x="209396" y="162521"/>
                  <a:pt x="162521" y="209396"/>
                  <a:pt x="104698" y="209396"/>
                </a:cubicBezTo>
                <a:cubicBezTo>
                  <a:pt x="46875" y="209396"/>
                  <a:pt x="0" y="162521"/>
                  <a:pt x="0" y="104698"/>
                </a:cubicBezTo>
                <a:cubicBezTo>
                  <a:pt x="0" y="46875"/>
                  <a:pt x="46875" y="0"/>
                  <a:pt x="104698" y="0"/>
                </a:cubicBezTo>
                <a:close/>
              </a:path>
            </a:pathLst>
          </a:custGeom>
          <a:solidFill>
            <a:schemeClr val="bg1"/>
          </a:solidFill>
        </p:spPr>
        <p:txBody>
          <a:bodyPr wrap="square" anchor="ctr">
            <a:noAutofit/>
          </a:bodyPr>
          <a:lstStyle>
            <a:lvl1pPr marL="0" indent="0" algn="ctr">
              <a:buNone/>
              <a:defRPr sz="600">
                <a:solidFill>
                  <a:schemeClr val="tx1">
                    <a:alpha val="0"/>
                  </a:schemeClr>
                </a:solidFill>
              </a:defRPr>
            </a:lvl1pPr>
          </a:lstStyle>
          <a:p>
            <a:pPr lvl="0"/>
            <a:r>
              <a:rPr lang="en-US"/>
              <a:t>X</a:t>
            </a:r>
          </a:p>
        </p:txBody>
      </p:sp>
      <p:sp>
        <p:nvSpPr>
          <p:cNvPr id="9" name="Text Placeholder 87">
            <a:extLst>
              <a:ext uri="{FF2B5EF4-FFF2-40B4-BE49-F238E27FC236}">
                <a16:creationId xmlns:a16="http://schemas.microsoft.com/office/drawing/2014/main" id="{097C8867-E297-05B1-44D3-06B4565506B3}"/>
              </a:ext>
            </a:extLst>
          </p:cNvPr>
          <p:cNvSpPr>
            <a:spLocks noGrp="1"/>
          </p:cNvSpPr>
          <p:nvPr>
            <p:ph type="body" sz="quarter" idx="37" hasCustomPrompt="1"/>
          </p:nvPr>
        </p:nvSpPr>
        <p:spPr>
          <a:xfrm>
            <a:off x="2366010" y="5385816"/>
            <a:ext cx="75438" cy="100584"/>
          </a:xfrm>
          <a:custGeom>
            <a:avLst/>
            <a:gdLst>
              <a:gd name="connsiteX0" fmla="*/ 104698 w 209396"/>
              <a:gd name="connsiteY0" fmla="*/ 0 h 209396"/>
              <a:gd name="connsiteX1" fmla="*/ 209396 w 209396"/>
              <a:gd name="connsiteY1" fmla="*/ 104698 h 209396"/>
              <a:gd name="connsiteX2" fmla="*/ 104698 w 209396"/>
              <a:gd name="connsiteY2" fmla="*/ 209396 h 209396"/>
              <a:gd name="connsiteX3" fmla="*/ 0 w 209396"/>
              <a:gd name="connsiteY3" fmla="*/ 104698 h 209396"/>
              <a:gd name="connsiteX4" fmla="*/ 104698 w 209396"/>
              <a:gd name="connsiteY4" fmla="*/ 0 h 209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96" h="209396">
                <a:moveTo>
                  <a:pt x="104698" y="0"/>
                </a:moveTo>
                <a:cubicBezTo>
                  <a:pt x="162521" y="0"/>
                  <a:pt x="209396" y="46875"/>
                  <a:pt x="209396" y="104698"/>
                </a:cubicBezTo>
                <a:cubicBezTo>
                  <a:pt x="209396" y="162521"/>
                  <a:pt x="162521" y="209396"/>
                  <a:pt x="104698" y="209396"/>
                </a:cubicBezTo>
                <a:cubicBezTo>
                  <a:pt x="46875" y="209396"/>
                  <a:pt x="0" y="162521"/>
                  <a:pt x="0" y="104698"/>
                </a:cubicBezTo>
                <a:cubicBezTo>
                  <a:pt x="0" y="46875"/>
                  <a:pt x="46875" y="0"/>
                  <a:pt x="104698" y="0"/>
                </a:cubicBezTo>
                <a:close/>
              </a:path>
            </a:pathLst>
          </a:custGeom>
          <a:solidFill>
            <a:schemeClr val="bg1"/>
          </a:solidFill>
        </p:spPr>
        <p:txBody>
          <a:bodyPr wrap="square" anchor="ctr">
            <a:noAutofit/>
          </a:bodyPr>
          <a:lstStyle>
            <a:lvl1pPr marL="0" indent="0" algn="ctr">
              <a:buNone/>
              <a:defRPr sz="600">
                <a:solidFill>
                  <a:schemeClr val="tx1">
                    <a:alpha val="0"/>
                  </a:schemeClr>
                </a:solidFill>
              </a:defRPr>
            </a:lvl1pPr>
          </a:lstStyle>
          <a:p>
            <a:pPr lvl="0"/>
            <a:r>
              <a:rPr lang="en-US"/>
              <a:t>X</a:t>
            </a:r>
          </a:p>
        </p:txBody>
      </p:sp>
    </p:spTree>
    <p:extLst>
      <p:ext uri="{BB962C8B-B14F-4D97-AF65-F5344CB8AC3E}">
        <p14:creationId xmlns:p14="http://schemas.microsoft.com/office/powerpoint/2010/main" val="25972555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10.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theme" Target="../theme/theme1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3.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12.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4.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3.jpe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ags" Target="../tags/tag2.xml"/><Relationship Id="rId5" Type="http://schemas.openxmlformats.org/officeDocument/2006/relationships/slideLayout" Target="../slideLayouts/slideLayout19.xml"/><Relationship Id="rId10" Type="http://schemas.openxmlformats.org/officeDocument/2006/relationships/tags" Target="../tags/tag1.xml"/><Relationship Id="rId4" Type="http://schemas.openxmlformats.org/officeDocument/2006/relationships/slideLayout" Target="../slideLayouts/slideLayout1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5.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image" Target="../media/image5.png"/><Relationship Id="rId5" Type="http://schemas.openxmlformats.org/officeDocument/2006/relationships/theme" Target="../theme/theme5.xml"/><Relationship Id="rId4" Type="http://schemas.openxmlformats.org/officeDocument/2006/relationships/slideLayout" Target="../slideLayouts/slideLayout49.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slideLayout" Target="../slideLayouts/slideLayout52.x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51.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50.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image" Target="../media/image10.emf"/><Relationship Id="rId5" Type="http://schemas.openxmlformats.org/officeDocument/2006/relationships/theme" Target="../theme/theme6.xml"/><Relationship Id="rId15" Type="http://schemas.openxmlformats.org/officeDocument/2006/relationships/tags" Target="../tags/tag12.xml"/><Relationship Id="rId23" Type="http://schemas.openxmlformats.org/officeDocument/2006/relationships/oleObject" Target="../embeddings/oleObject1.bin"/><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slideLayout" Target="../slideLayouts/slideLayout53.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image" Target="../media/image5.png"/><Relationship Id="rId5" Type="http://schemas.openxmlformats.org/officeDocument/2006/relationships/theme" Target="../theme/theme7.xml"/><Relationship Id="rId4"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3" Type="http://schemas.openxmlformats.org/officeDocument/2006/relationships/slideLayout" Target="../slideLayouts/slideLayout60.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image" Target="../media/image10.emf"/><Relationship Id="rId2" Type="http://schemas.openxmlformats.org/officeDocument/2006/relationships/slideLayout" Target="../slideLayouts/slideLayout59.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slideLayout" Target="../slideLayouts/slideLayout58.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oleObject" Target="../embeddings/oleObject3.bin"/><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heme" Target="../theme/theme8.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tags" Target="../tags/tag56.xml"/><Relationship Id="rId3" Type="http://schemas.openxmlformats.org/officeDocument/2006/relationships/slideLayout" Target="../slideLayouts/slideLayout63.xml"/><Relationship Id="rId21" Type="http://schemas.openxmlformats.org/officeDocument/2006/relationships/tags" Target="../tags/tag59.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tags" Target="../tags/tag55.xml"/><Relationship Id="rId25" Type="http://schemas.openxmlformats.org/officeDocument/2006/relationships/image" Target="../media/image10.emf"/><Relationship Id="rId2" Type="http://schemas.openxmlformats.org/officeDocument/2006/relationships/slideLayout" Target="../slideLayouts/slideLayout62.xml"/><Relationship Id="rId16" Type="http://schemas.openxmlformats.org/officeDocument/2006/relationships/tags" Target="../tags/tag54.xml"/><Relationship Id="rId20" Type="http://schemas.openxmlformats.org/officeDocument/2006/relationships/tags" Target="../tags/tag58.xml"/><Relationship Id="rId1" Type="http://schemas.openxmlformats.org/officeDocument/2006/relationships/slideLayout" Target="../slideLayouts/slideLayout61.xml"/><Relationship Id="rId6" Type="http://schemas.openxmlformats.org/officeDocument/2006/relationships/tags" Target="../tags/tag44.xml"/><Relationship Id="rId11" Type="http://schemas.openxmlformats.org/officeDocument/2006/relationships/tags" Target="../tags/tag49.xml"/><Relationship Id="rId24" Type="http://schemas.openxmlformats.org/officeDocument/2006/relationships/oleObject" Target="../embeddings/oleObject3.bin"/><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tags" Target="../tags/tag61.xml"/><Relationship Id="rId10" Type="http://schemas.openxmlformats.org/officeDocument/2006/relationships/tags" Target="../tags/tag48.xml"/><Relationship Id="rId19" Type="http://schemas.openxmlformats.org/officeDocument/2006/relationships/tags" Target="../tags/tag57.xml"/><Relationship Id="rId4" Type="http://schemas.openxmlformats.org/officeDocument/2006/relationships/theme" Target="../theme/theme9.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tags" Target="../tags/tag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228600" y="621742"/>
            <a:ext cx="7772400"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228600" y="1160544"/>
            <a:ext cx="868680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228600" y="6440441"/>
            <a:ext cx="868680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21" name="Date Placeholder 3"/>
          <p:cNvSpPr txBox="1">
            <a:spLocks/>
          </p:cNvSpPr>
          <p:nvPr userDrawn="1"/>
        </p:nvSpPr>
        <p:spPr>
          <a:xfrm>
            <a:off x="7086600" y="6613161"/>
            <a:ext cx="18288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r"/>
            <a:r>
              <a:rPr lang="en-US" sz="800" baseline="0"/>
              <a:t>Slide </a:t>
            </a:r>
            <a:fld id="{E751E243-682E-4759-A099-4AE9768A6066}" type="slidenum">
              <a:rPr lang="en-US" sz="800" baseline="0" smtClean="0"/>
              <a:t>‹#›</a:t>
            </a:fld>
            <a:endParaRPr lang="en-US" sz="800" baseline="0"/>
          </a:p>
        </p:txBody>
      </p:sp>
      <p:pic>
        <p:nvPicPr>
          <p:cNvPr id="7" name="Picture 6">
            <a:extLst>
              <a:ext uri="{FF2B5EF4-FFF2-40B4-BE49-F238E27FC236}">
                <a16:creationId xmlns:a16="http://schemas.microsoft.com/office/drawing/2014/main" id="{8019827A-7EB9-4071-964D-4399468DBF06}"/>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091582" y="161689"/>
            <a:ext cx="977604" cy="729454"/>
          </a:xfrm>
          <a:prstGeom prst="rect">
            <a:avLst/>
          </a:prstGeom>
        </p:spPr>
      </p:pic>
      <p:sp>
        <p:nvSpPr>
          <p:cNvPr id="8" name="Date Placeholder 3">
            <a:extLst>
              <a:ext uri="{FF2B5EF4-FFF2-40B4-BE49-F238E27FC236}">
                <a16:creationId xmlns:a16="http://schemas.microsoft.com/office/drawing/2014/main" id="{35316466-D93D-4678-AB3B-332D6D6566A6}"/>
              </a:ext>
            </a:extLst>
          </p:cNvPr>
          <p:cNvSpPr txBox="1">
            <a:spLocks/>
          </p:cNvSpPr>
          <p:nvPr userDrawn="1"/>
        </p:nvSpPr>
        <p:spPr>
          <a:xfrm>
            <a:off x="-3474720" y="6601078"/>
            <a:ext cx="91440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endParaRPr lang="en-US" sz="800" i="1" baseline="0"/>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 id="2147483671" r:id="rId3"/>
    <p:sldLayoutId id="2147483661" r:id="rId4"/>
    <p:sldLayoutId id="2147483665" r:id="rId5"/>
    <p:sldLayoutId id="2147483664" r:id="rId6"/>
    <p:sldLayoutId id="2147483669" r:id="rId7"/>
    <p:sldLayoutId id="2147483663" r:id="rId8"/>
    <p:sldLayoutId id="2147483672" r:id="rId9"/>
    <p:sldLayoutId id="2147483668" r:id="rId10"/>
    <p:sldLayoutId id="2147483660" r:id="rId11"/>
    <p:sldLayoutId id="2147483737" r:id="rId12"/>
    <p:sldLayoutId id="2147483754" r:id="rId13"/>
    <p:sldLayoutId id="2147483801" r:id="rId14"/>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fld id="{9A6F5504-8E1E-4367-BC0D-05115072FCBD}" type="datetime1">
              <a:rPr lang="en-US" b="1" smtClean="0">
                <a:solidFill>
                  <a:prstClr val="black">
                    <a:tint val="75000"/>
                  </a:prstClr>
                </a:solidFill>
              </a:rPr>
              <a:t>5/14/25</a:t>
            </a:fld>
            <a:endParaRPr lang="en-US" b="1">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a:defRPr/>
            </a:pPr>
            <a:endParaRPr lang="en-US" b="1">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a:defRPr/>
            </a:pPr>
            <a:r>
              <a:rPr lang="en-US" b="1">
                <a:solidFill>
                  <a:prstClr val="black">
                    <a:tint val="75000"/>
                  </a:prstClr>
                </a:solidFill>
              </a:rPr>
              <a:t>Page </a:t>
            </a:r>
            <a:fld id="{9C0CE6A8-29A4-4DCA-8DF6-58DCCC5D35C7}" type="slidenum">
              <a:rPr lang="en-US" b="1" smtClean="0">
                <a:solidFill>
                  <a:prstClr val="black">
                    <a:tint val="75000"/>
                  </a:prstClr>
                </a:solidFill>
              </a:rPr>
              <a:pPr>
                <a:defRPr/>
              </a:pPr>
              <a:t>‹#›</a:t>
            </a:fld>
            <a:endParaRPr lang="en-US" b="1">
              <a:solidFill>
                <a:prstClr val="black">
                  <a:tint val="75000"/>
                </a:prstClr>
              </a:solidFill>
            </a:endParaRPr>
          </a:p>
        </p:txBody>
      </p:sp>
    </p:spTree>
    <p:extLst>
      <p:ext uri="{BB962C8B-B14F-4D97-AF65-F5344CB8AC3E}">
        <p14:creationId xmlns:p14="http://schemas.microsoft.com/office/powerpoint/2010/main" val="1380552271"/>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5B8E7D5-C006-D3A8-AB20-FBFA68F6FBCB}"/>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9567B4B-DD07-AA45-AA16-C22ACA5CD236}"/>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036C95-FB82-4E5F-3236-38AC4E214D8B}"/>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841AFB9A-46A0-4021-9F4A-D444CBE1DD51}" type="datetimeFigureOut">
              <a:rPr lang="en-US" smtClean="0"/>
              <a:t>5/14/25</a:t>
            </a:fld>
            <a:endParaRPr lang="en-US"/>
          </a:p>
        </p:txBody>
      </p:sp>
      <p:sp>
        <p:nvSpPr>
          <p:cNvPr id="5" name="Footer Placeholder 4">
            <a:extLst>
              <a:ext uri="{FF2B5EF4-FFF2-40B4-BE49-F238E27FC236}">
                <a16:creationId xmlns:a16="http://schemas.microsoft.com/office/drawing/2014/main" id="{50BC6748-48F7-3F6F-FFAF-1F2580FDC99D}"/>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20DF955-A375-F7CF-8A8F-28A5B23C1169}"/>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06776CB-43A1-4978-8F11-C662227D8B63}" type="slidenum">
              <a:rPr lang="en-US" smtClean="0"/>
              <a:t>‹#›</a:t>
            </a:fld>
            <a:endParaRPr lang="en-US"/>
          </a:p>
        </p:txBody>
      </p:sp>
    </p:spTree>
    <p:extLst>
      <p:ext uri="{BB962C8B-B14F-4D97-AF65-F5344CB8AC3E}">
        <p14:creationId xmlns:p14="http://schemas.microsoft.com/office/powerpoint/2010/main" val="955056538"/>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16D7BE-2E11-C321-20AC-FFE36F9B180F}"/>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9CA0C42-BE74-321C-EAF4-DCD9C2A8283A}"/>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F705C2-9B4E-9B6C-DAA3-0866F8912645}"/>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82000"/>
                  </a:schemeClr>
                </a:solidFill>
              </a:defRPr>
            </a:lvl1pPr>
          </a:lstStyle>
          <a:p>
            <a:fld id="{3CA2C490-A756-426D-A08E-69C98007A596}" type="datetimeFigureOut">
              <a:rPr lang="en-US" smtClean="0"/>
              <a:t>5/14/25</a:t>
            </a:fld>
            <a:endParaRPr lang="en-US"/>
          </a:p>
        </p:txBody>
      </p:sp>
      <p:sp>
        <p:nvSpPr>
          <p:cNvPr id="5" name="Footer Placeholder 4">
            <a:extLst>
              <a:ext uri="{FF2B5EF4-FFF2-40B4-BE49-F238E27FC236}">
                <a16:creationId xmlns:a16="http://schemas.microsoft.com/office/drawing/2014/main" id="{5B019C62-5D8B-ADB1-33E1-561F0929A0D6}"/>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BB78E8EE-1316-512C-6DFF-8DF8C96724F5}"/>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82000"/>
                  </a:schemeClr>
                </a:solidFill>
              </a:defRPr>
            </a:lvl1pPr>
          </a:lstStyle>
          <a:p>
            <a:fld id="{6E1518BB-86C2-43D2-9034-5459F8C69451}" type="slidenum">
              <a:rPr lang="en-US" smtClean="0"/>
              <a:t>‹#›</a:t>
            </a:fld>
            <a:endParaRPr lang="en-US"/>
          </a:p>
        </p:txBody>
      </p:sp>
    </p:spTree>
    <p:extLst>
      <p:ext uri="{BB962C8B-B14F-4D97-AF65-F5344CB8AC3E}">
        <p14:creationId xmlns:p14="http://schemas.microsoft.com/office/powerpoint/2010/main" val="3154671756"/>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198F9AA-2C87-421D-97C1-B4248DFDC2C2}"/>
              </a:ext>
            </a:extLst>
          </p:cNvPr>
          <p:cNvSpPr>
            <a:spLocks noGrp="1"/>
          </p:cNvSpPr>
          <p:nvPr>
            <p:ph type="title"/>
          </p:nvPr>
        </p:nvSpPr>
        <p:spPr>
          <a:xfrm>
            <a:off x="285750" y="381000"/>
            <a:ext cx="85725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AE98FC63-C8D2-4CE6-A3F1-EE8ED24590C4}"/>
              </a:ext>
            </a:extLst>
          </p:cNvPr>
          <p:cNvSpPr>
            <a:spLocks noGrp="1"/>
          </p:cNvSpPr>
          <p:nvPr>
            <p:ph type="body" idx="1"/>
          </p:nvPr>
        </p:nvSpPr>
        <p:spPr>
          <a:xfrm>
            <a:off x="285750" y="1825625"/>
            <a:ext cx="85725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D77A09-15C2-4E47-948E-AACAFCA47D40}"/>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noAutofit/>
          </a:bodyPr>
          <a:lstStyle>
            <a:lvl1pPr algn="l">
              <a:defRPr sz="9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60567522-C3B6-46EB-A361-BEC2510B00CA}"/>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noAutofit/>
          </a:bodyPr>
          <a:lstStyle>
            <a:lvl1pPr algn="ctr">
              <a:defRPr sz="900">
                <a:solidFill>
                  <a:schemeClr val="tx1">
                    <a:tint val="75000"/>
                  </a:schemeClr>
                </a:solidFill>
              </a:defRPr>
            </a:lvl1pPr>
          </a:lstStyle>
          <a:p>
            <a:r>
              <a:rPr lang="en-US"/>
              <a:t>Contoso grand opening event</a:t>
            </a:r>
          </a:p>
        </p:txBody>
      </p:sp>
      <p:sp>
        <p:nvSpPr>
          <p:cNvPr id="6" name="Slide Number Placeholder 5">
            <a:extLst>
              <a:ext uri="{FF2B5EF4-FFF2-40B4-BE49-F238E27FC236}">
                <a16:creationId xmlns:a16="http://schemas.microsoft.com/office/drawing/2014/main" id="{CDC57CF0-034F-450D-937C-718D5AF1A059}"/>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noAutofit/>
          </a:bodyPr>
          <a:lstStyle>
            <a:lvl1pPr algn="r">
              <a:defRPr sz="900">
                <a:solidFill>
                  <a:schemeClr val="tx1">
                    <a:tint val="75000"/>
                  </a:schemeClr>
                </a:solidFill>
              </a:defRPr>
            </a:lvl1pPr>
          </a:lstStyle>
          <a:p>
            <a:fld id="{294A09A9-5501-47C1-A89A-A340965A2BE2}" type="slidenum">
              <a:rPr lang="en-US" smtClean="0"/>
              <a:t>‹#›</a:t>
            </a:fld>
            <a:endParaRPr lang="en-US"/>
          </a:p>
        </p:txBody>
      </p:sp>
    </p:spTree>
    <p:extLst>
      <p:ext uri="{BB962C8B-B14F-4D97-AF65-F5344CB8AC3E}">
        <p14:creationId xmlns:p14="http://schemas.microsoft.com/office/powerpoint/2010/main" val="2163590842"/>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Lst>
  <p:hf hdr="0" dt="0"/>
  <p:txStyles>
    <p:titleStyle>
      <a:lvl1pPr algn="l" defTabSz="6858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0"/>
        </a:spcBef>
        <a:buClr>
          <a:schemeClr val="accent4"/>
        </a:buClr>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0"/>
        </a:spcBef>
        <a:buClr>
          <a:schemeClr val="accent4"/>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0"/>
        </a:spcBef>
        <a:buClr>
          <a:schemeClr val="accent4"/>
        </a:buClr>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0"/>
        </a:spcBef>
        <a:buClr>
          <a:schemeClr val="accent4"/>
        </a:buClr>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0"/>
        </a:spcBef>
        <a:buClr>
          <a:schemeClr val="accent4"/>
        </a:buClr>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pos="240">
          <p15:clr>
            <a:srgbClr val="547EBF"/>
          </p15:clr>
        </p15:guide>
        <p15:guide id="4" orient="horz" pos="240">
          <p15:clr>
            <a:srgbClr val="547EBF"/>
          </p15:clr>
        </p15:guide>
        <p15:guide id="5" pos="7440">
          <p15:clr>
            <a:srgbClr val="547EBF"/>
          </p15:clr>
        </p15:guide>
        <p15:guide id="6" orient="horz" pos="4080">
          <p15:clr>
            <a:srgbClr val="547EBF"/>
          </p15:clr>
        </p15:guide>
        <p15:guide id="7" pos="3960">
          <p15:clr>
            <a:srgbClr val="547EBF"/>
          </p15:clr>
        </p15:guide>
        <p15:guide id="8" pos="3720">
          <p15:clr>
            <a:srgbClr val="547EBF"/>
          </p15:clr>
        </p15:guide>
        <p15:guide id="9" pos="2112">
          <p15:clr>
            <a:srgbClr val="547EBF"/>
          </p15:clr>
        </p15:guide>
        <p15:guide id="10" pos="1848">
          <p15:clr>
            <a:srgbClr val="547EBF"/>
          </p15:clr>
        </p15:guide>
        <p15:guide id="11" pos="5568">
          <p15:clr>
            <a:srgbClr val="547EBF"/>
          </p15:clr>
        </p15:guide>
        <p15:guide id="12" pos="5832">
          <p15:clr>
            <a:srgbClr val="547EBF"/>
          </p15:clr>
        </p15:guide>
        <p15:guide id="13" pos="4968">
          <p15:clr>
            <a:srgbClr val="9FCC3B"/>
          </p15:clr>
        </p15:guide>
        <p15:guide id="14" pos="5208">
          <p15:clr>
            <a:srgbClr val="9FCC3B"/>
          </p15:clr>
        </p15:guide>
        <p15:guide id="15" pos="2712">
          <p15:clr>
            <a:srgbClr val="9FCC3B"/>
          </p15:clr>
        </p15:guide>
        <p15:guide id="16" pos="2472">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2" cstate="print"/>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1" y="109538"/>
            <a:ext cx="5664200" cy="762000"/>
          </a:xfrm>
          <a:prstGeom prst="rect">
            <a:avLst/>
          </a:prstGeom>
          <a:noFill/>
          <a:ln w="9525" algn="ctr">
            <a:noFill/>
            <a:miter lim="800000"/>
            <a:headEnd/>
            <a:tailEnd/>
          </a:ln>
        </p:spPr>
        <p:txBody>
          <a:bodyPr vert="horz" wrap="square" lIns="91430" tIns="45716" rIns="91430" bIns="45716"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16" tIns="46033" rIns="45716" bIns="46033"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16" tIns="45716" rIns="45716" bIns="45716" anchor="ctr"/>
          <a:lstStyle/>
          <a:p>
            <a:pPr algn="ctr" eaLnBrk="0" hangingPunct="0">
              <a:defRPr/>
            </a:pPr>
            <a:endParaRPr lang="en-US" sz="1600">
              <a:solidFill>
                <a:srgbClr val="000000"/>
              </a:solidFill>
              <a:latin typeface="Arial"/>
            </a:endParaRPr>
          </a:p>
        </p:txBody>
      </p:sp>
      <p:pic>
        <p:nvPicPr>
          <p:cNvPr id="7174" name="Picture 6" descr="best ver2b seal"/>
          <p:cNvPicPr>
            <a:picLocks noChangeAspect="1" noChangeArrowheads="1"/>
          </p:cNvPicPr>
          <p:nvPr/>
        </p:nvPicPr>
        <p:blipFill>
          <a:blip r:embed="rId13" cstate="print">
            <a:clrChange>
              <a:clrFrom>
                <a:srgbClr val="003264"/>
              </a:clrFrom>
              <a:clrTo>
                <a:srgbClr val="003264">
                  <a:alpha val="0"/>
                </a:srgbClr>
              </a:clrTo>
            </a:clrChange>
          </a:blip>
          <a:srcRect/>
          <a:stretch>
            <a:fillRect/>
          </a:stretch>
        </p:blipFill>
        <p:spPr bwMode="auto">
          <a:xfrm>
            <a:off x="25400" y="157164"/>
            <a:ext cx="762001"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10"/>
            </p:custDataLst>
          </p:nvPr>
        </p:nvSpPr>
        <p:spPr bwMode="gray">
          <a:xfrm>
            <a:off x="836614" y="1420814"/>
            <a:ext cx="6985000" cy="251222"/>
          </a:xfrm>
          <a:prstGeom prst="rect">
            <a:avLst/>
          </a:prstGeom>
          <a:noFill/>
          <a:ln w="9525" algn="ctr">
            <a:noFill/>
            <a:miter lim="800000"/>
            <a:headEnd/>
            <a:tailEnd/>
          </a:ln>
          <a:effectLst/>
        </p:spPr>
        <p:txBody>
          <a:bodyPr lIns="0" tIns="0" rIns="0" bIns="0">
            <a:spAutoFit/>
          </a:bodyPr>
          <a:lstStyle/>
          <a:p>
            <a:pPr>
              <a:buClr>
                <a:srgbClr val="000000"/>
              </a:buClr>
              <a:defRPr/>
            </a:pPr>
            <a:r>
              <a:rPr lang="en-US" sz="1600" b="1">
                <a:solidFill>
                  <a:srgbClr val="000000"/>
                </a:solidFill>
                <a:latin typeface="Arial"/>
              </a:rPr>
              <a:t>Subject Title</a:t>
            </a:r>
          </a:p>
        </p:txBody>
      </p:sp>
      <p:sp>
        <p:nvSpPr>
          <p:cNvPr id="3198988" name="AcnFootnote_ID_3198988" hidden="1"/>
          <p:cNvSpPr txBox="1">
            <a:spLocks noChangeArrowheads="1"/>
          </p:cNvSpPr>
          <p:nvPr>
            <p:custDataLst>
              <p:tags r:id="rId11"/>
            </p:custDataLst>
          </p:nvPr>
        </p:nvSpPr>
        <p:spPr bwMode="gray">
          <a:xfrm>
            <a:off x="836614" y="6244283"/>
            <a:ext cx="5564187" cy="345431"/>
          </a:xfrm>
          <a:prstGeom prst="rect">
            <a:avLst/>
          </a:prstGeom>
          <a:noFill/>
          <a:ln w="9525" algn="ctr">
            <a:noFill/>
            <a:miter lim="800000"/>
            <a:headEnd/>
            <a:tailEnd/>
          </a:ln>
          <a:effectLst/>
        </p:spPr>
        <p:txBody>
          <a:bodyPr lIns="0" tIns="0" rIns="0" bIns="0" anchor="b">
            <a:spAutoFit/>
          </a:bodyPr>
          <a:lstStyle/>
          <a:p>
            <a:pPr marL="538106" indent="-538106">
              <a:buClr>
                <a:srgbClr val="000000"/>
              </a:buClr>
              <a:defRPr/>
            </a:pPr>
            <a:r>
              <a:rPr lang="en-US" sz="1000">
                <a:solidFill>
                  <a:srgbClr val="000000"/>
                </a:solidFill>
                <a:latin typeface="Arial"/>
              </a:rPr>
              <a:t>*	Footnote</a:t>
            </a:r>
          </a:p>
          <a:p>
            <a:pPr marL="538106" indent="-538106">
              <a:spcBef>
                <a:spcPct val="20000"/>
              </a:spcBef>
              <a:buClr>
                <a:srgbClr val="000000"/>
              </a:buClr>
              <a:defRPr/>
            </a:pPr>
            <a:r>
              <a:rPr lang="en-US" sz="1000">
                <a:solidFill>
                  <a:srgbClr val="000000"/>
                </a:solidFill>
                <a:latin typeface="Arial"/>
              </a:rPr>
              <a:t>Source:	Source</a:t>
            </a:r>
          </a:p>
        </p:txBody>
      </p:sp>
      <p:sp>
        <p:nvSpPr>
          <p:cNvPr id="9" name="Text Box 9"/>
          <p:cNvSpPr txBox="1">
            <a:spLocks noChangeArrowheads="1"/>
          </p:cNvSpPr>
          <p:nvPr/>
        </p:nvSpPr>
        <p:spPr bwMode="auto">
          <a:xfrm>
            <a:off x="4038601" y="6445251"/>
            <a:ext cx="1066800" cy="249339"/>
          </a:xfrm>
          <a:prstGeom prst="rect">
            <a:avLst/>
          </a:prstGeom>
          <a:noFill/>
          <a:ln w="9525">
            <a:noFill/>
            <a:miter lim="800000"/>
            <a:headEnd/>
            <a:tailEnd/>
          </a:ln>
          <a:effectLst/>
        </p:spPr>
        <p:txBody>
          <a:bodyPr lIns="45716" tIns="45716" rIns="45716" bIns="45716">
            <a:spAutoFit/>
          </a:bodyPr>
          <a:lstStyle/>
          <a:p>
            <a:pPr algn="ctr" eaLnBrk="0" hangingPunct="0">
              <a:spcBef>
                <a:spcPct val="50000"/>
              </a:spcBef>
              <a:defRPr/>
            </a:pPr>
            <a:fld id="{6675420D-CD84-4F3B-B8B6-EF0F67C2EF0E}" type="slidenum">
              <a:rPr lang="en-US" sz="1000">
                <a:solidFill>
                  <a:srgbClr val="000000"/>
                </a:solidFill>
                <a:latin typeface="Arial"/>
              </a:rPr>
              <a:pPr algn="ctr" eaLnBrk="0" hangingPunct="0">
                <a:spcBef>
                  <a:spcPct val="50000"/>
                </a:spcBef>
                <a:defRPr/>
              </a:pPr>
              <a:t>‹#›</a:t>
            </a:fld>
            <a:endParaRPr lang="en-US" sz="1000">
              <a:solidFill>
                <a:srgbClr val="000000"/>
              </a:solidFill>
              <a:latin typeface="Arial"/>
            </a:endParaRPr>
          </a:p>
        </p:txBody>
      </p:sp>
    </p:spTree>
    <p:extLst>
      <p:ext uri="{BB962C8B-B14F-4D97-AF65-F5344CB8AC3E}">
        <p14:creationId xmlns:p14="http://schemas.microsoft.com/office/powerpoint/2010/main" val="4032465973"/>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ransition/>
  <p:hf sldNum="0" hdr="0" ftr="0" dt="0"/>
  <p:txStyles>
    <p:titleStyle>
      <a:lvl1pPr algn="l" rtl="0" eaLnBrk="0" fontAlgn="base" hangingPunct="0">
        <a:spcBef>
          <a:spcPct val="20000"/>
        </a:spcBef>
        <a:spcAft>
          <a:spcPct val="0"/>
        </a:spcAft>
        <a:tabLst>
          <a:tab pos="915891"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891" algn="l"/>
        </a:tabLst>
        <a:defRPr sz="2400" b="1">
          <a:solidFill>
            <a:srgbClr val="FFC000"/>
          </a:solidFill>
          <a:latin typeface="Arial" pitchFamily="34" charset="0"/>
        </a:defRPr>
      </a:lvl2pPr>
      <a:lvl3pPr algn="l" rtl="0" eaLnBrk="0" fontAlgn="base" hangingPunct="0">
        <a:spcBef>
          <a:spcPct val="20000"/>
        </a:spcBef>
        <a:spcAft>
          <a:spcPct val="0"/>
        </a:spcAft>
        <a:tabLst>
          <a:tab pos="915891" algn="l"/>
        </a:tabLst>
        <a:defRPr sz="2400" b="1">
          <a:solidFill>
            <a:srgbClr val="FFC000"/>
          </a:solidFill>
          <a:latin typeface="Arial" pitchFamily="34" charset="0"/>
        </a:defRPr>
      </a:lvl3pPr>
      <a:lvl4pPr algn="l" rtl="0" eaLnBrk="0" fontAlgn="base" hangingPunct="0">
        <a:spcBef>
          <a:spcPct val="20000"/>
        </a:spcBef>
        <a:spcAft>
          <a:spcPct val="0"/>
        </a:spcAft>
        <a:tabLst>
          <a:tab pos="915891" algn="l"/>
        </a:tabLst>
        <a:defRPr sz="2400" b="1">
          <a:solidFill>
            <a:srgbClr val="FFC000"/>
          </a:solidFill>
          <a:latin typeface="Arial" pitchFamily="34" charset="0"/>
        </a:defRPr>
      </a:lvl4pPr>
      <a:lvl5pPr algn="l" rtl="0" eaLnBrk="0" fontAlgn="base" hangingPunct="0">
        <a:spcBef>
          <a:spcPct val="20000"/>
        </a:spcBef>
        <a:spcAft>
          <a:spcPct val="0"/>
        </a:spcAft>
        <a:tabLst>
          <a:tab pos="915891" algn="l"/>
        </a:tabLst>
        <a:defRPr sz="2400" b="1">
          <a:solidFill>
            <a:srgbClr val="FFC000"/>
          </a:solidFill>
          <a:latin typeface="Arial" pitchFamily="34" charset="0"/>
        </a:defRPr>
      </a:lvl5pPr>
      <a:lvl6pPr marL="457152" algn="l" rtl="0" eaLnBrk="0" fontAlgn="base" hangingPunct="0">
        <a:spcBef>
          <a:spcPct val="20000"/>
        </a:spcBef>
        <a:spcAft>
          <a:spcPct val="0"/>
        </a:spcAft>
        <a:tabLst>
          <a:tab pos="915891" algn="l"/>
        </a:tabLst>
        <a:defRPr sz="2400" b="1">
          <a:solidFill>
            <a:schemeClr val="accent1"/>
          </a:solidFill>
          <a:latin typeface="Arial" pitchFamily="34" charset="0"/>
        </a:defRPr>
      </a:lvl6pPr>
      <a:lvl7pPr marL="914303" algn="l" rtl="0" eaLnBrk="0" fontAlgn="base" hangingPunct="0">
        <a:spcBef>
          <a:spcPct val="20000"/>
        </a:spcBef>
        <a:spcAft>
          <a:spcPct val="0"/>
        </a:spcAft>
        <a:tabLst>
          <a:tab pos="915891" algn="l"/>
        </a:tabLst>
        <a:defRPr sz="2400" b="1">
          <a:solidFill>
            <a:schemeClr val="accent1"/>
          </a:solidFill>
          <a:latin typeface="Arial" pitchFamily="34" charset="0"/>
        </a:defRPr>
      </a:lvl7pPr>
      <a:lvl8pPr marL="1371455" algn="l" rtl="0" eaLnBrk="0" fontAlgn="base" hangingPunct="0">
        <a:spcBef>
          <a:spcPct val="20000"/>
        </a:spcBef>
        <a:spcAft>
          <a:spcPct val="0"/>
        </a:spcAft>
        <a:tabLst>
          <a:tab pos="915891" algn="l"/>
        </a:tabLst>
        <a:defRPr sz="2400" b="1">
          <a:solidFill>
            <a:schemeClr val="accent1"/>
          </a:solidFill>
          <a:latin typeface="Arial" pitchFamily="34" charset="0"/>
        </a:defRPr>
      </a:lvl8pPr>
      <a:lvl9pPr marL="1828606" algn="l" rtl="0" eaLnBrk="0" fontAlgn="base" hangingPunct="0">
        <a:spcBef>
          <a:spcPct val="20000"/>
        </a:spcBef>
        <a:spcAft>
          <a:spcPct val="0"/>
        </a:spcAft>
        <a:tabLst>
          <a:tab pos="915891" algn="l"/>
        </a:tabLst>
        <a:defRPr sz="2400" b="1">
          <a:solidFill>
            <a:schemeClr val="accent1"/>
          </a:solidFill>
          <a:latin typeface="Arial" pitchFamily="34" charset="0"/>
        </a:defRPr>
      </a:lvl9pPr>
    </p:titleStyle>
    <p:bodyStyle>
      <a:lvl1pPr marL="380960" indent="-38096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265" indent="-222226"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697" indent="-342864"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303" indent="-346039"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359" indent="-304768"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510" indent="-304768" algn="l" rtl="0" fontAlgn="base">
        <a:lnSpc>
          <a:spcPct val="90000"/>
        </a:lnSpc>
        <a:spcBef>
          <a:spcPct val="25000"/>
        </a:spcBef>
        <a:spcAft>
          <a:spcPct val="0"/>
        </a:spcAft>
        <a:buClr>
          <a:schemeClr val="tx1"/>
        </a:buClr>
        <a:buChar char="–"/>
        <a:defRPr sz="1600">
          <a:solidFill>
            <a:schemeClr val="tx1"/>
          </a:solidFill>
          <a:latin typeface="+mn-lt"/>
        </a:defRPr>
      </a:lvl6pPr>
      <a:lvl7pPr marL="2247662" indent="-304768" algn="l" rtl="0" fontAlgn="base">
        <a:lnSpc>
          <a:spcPct val="90000"/>
        </a:lnSpc>
        <a:spcBef>
          <a:spcPct val="25000"/>
        </a:spcBef>
        <a:spcAft>
          <a:spcPct val="0"/>
        </a:spcAft>
        <a:buClr>
          <a:schemeClr val="tx1"/>
        </a:buClr>
        <a:buChar char="–"/>
        <a:defRPr sz="1600">
          <a:solidFill>
            <a:schemeClr val="tx1"/>
          </a:solidFill>
          <a:latin typeface="+mn-lt"/>
        </a:defRPr>
      </a:lvl7pPr>
      <a:lvl8pPr marL="2704813" indent="-304768" algn="l" rtl="0" fontAlgn="base">
        <a:lnSpc>
          <a:spcPct val="90000"/>
        </a:lnSpc>
        <a:spcBef>
          <a:spcPct val="25000"/>
        </a:spcBef>
        <a:spcAft>
          <a:spcPct val="0"/>
        </a:spcAft>
        <a:buClr>
          <a:schemeClr val="tx1"/>
        </a:buClr>
        <a:buChar char="–"/>
        <a:defRPr sz="1600">
          <a:solidFill>
            <a:schemeClr val="tx1"/>
          </a:solidFill>
          <a:latin typeface="+mn-lt"/>
        </a:defRPr>
      </a:lvl8pPr>
      <a:lvl9pPr marL="3161965" indent="-304768"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228600" y="621742"/>
            <a:ext cx="7772400"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228600" y="1160544"/>
            <a:ext cx="868680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228600" y="6440441"/>
            <a:ext cx="868680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32" name="Date Placeholder 3"/>
          <p:cNvSpPr txBox="1">
            <a:spLocks/>
          </p:cNvSpPr>
          <p:nvPr userDrawn="1"/>
        </p:nvSpPr>
        <p:spPr>
          <a:xfrm>
            <a:off x="228600" y="6435363"/>
            <a:ext cx="3200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a:solidFill>
                  <a:srgbClr val="000000"/>
                </a:solidFill>
              </a:rPr>
              <a:t>FY19 Budget Recommendations</a:t>
            </a:r>
          </a:p>
        </p:txBody>
      </p:sp>
      <p:pic>
        <p:nvPicPr>
          <p:cNvPr id="12" name="Picture 2" descr="https://upload.wikimedia.org/wikipedia/commons/thumb/8/82/Seal_of_Massachusetts.svg/2000px-Seal_of_Massachusetts.svg.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194432" y="195931"/>
            <a:ext cx="720969" cy="720969"/>
          </a:xfrm>
          <a:prstGeom prst="rect">
            <a:avLst/>
          </a:prstGeom>
          <a:noFill/>
          <a:extLst>
            <a:ext uri="{909E8E84-426E-40DD-AFC4-6F175D3DCCD1}">
              <a14:hiddenFill xmlns:a14="http://schemas.microsoft.com/office/drawing/2010/main">
                <a:solidFill>
                  <a:srgbClr val="FFFFFF"/>
                </a:solidFill>
              </a14:hiddenFill>
            </a:ext>
          </a:extLst>
        </p:spPr>
      </p:pic>
      <p:sp>
        <p:nvSpPr>
          <p:cNvPr id="15" name="Date Placeholder 3"/>
          <p:cNvSpPr txBox="1">
            <a:spLocks/>
          </p:cNvSpPr>
          <p:nvPr userDrawn="1"/>
        </p:nvSpPr>
        <p:spPr>
          <a:xfrm>
            <a:off x="228600" y="6613161"/>
            <a:ext cx="3200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a:solidFill>
                  <a:srgbClr val="000000"/>
                </a:solidFill>
              </a:rPr>
              <a:t>Executive Office of Technology Services and Security</a:t>
            </a:r>
          </a:p>
        </p:txBody>
      </p:sp>
      <p:sp>
        <p:nvSpPr>
          <p:cNvPr id="16" name="Date Placeholder 3"/>
          <p:cNvSpPr txBox="1">
            <a:spLocks/>
          </p:cNvSpPr>
          <p:nvPr userDrawn="1"/>
        </p:nvSpPr>
        <p:spPr>
          <a:xfrm>
            <a:off x="3543300" y="6446002"/>
            <a:ext cx="20574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ctr"/>
            <a:r>
              <a:rPr lang="en-US" sz="800">
                <a:solidFill>
                  <a:srgbClr val="000000"/>
                </a:solidFill>
              </a:rPr>
              <a:t>For Policy Development Purposes</a:t>
            </a:r>
          </a:p>
        </p:txBody>
      </p:sp>
      <p:sp>
        <p:nvSpPr>
          <p:cNvPr id="19" name="Date Placeholder 3"/>
          <p:cNvSpPr txBox="1">
            <a:spLocks/>
          </p:cNvSpPr>
          <p:nvPr userDrawn="1"/>
        </p:nvSpPr>
        <p:spPr>
          <a:xfrm>
            <a:off x="7086600" y="6435363"/>
            <a:ext cx="18288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r>
              <a:rPr lang="en-US" sz="800">
                <a:solidFill>
                  <a:srgbClr val="000000"/>
                </a:solidFill>
              </a:rPr>
              <a:t>Updated </a:t>
            </a:r>
            <a:fld id="{77336478-EF16-4DDD-8CCA-AF66E2F54745}" type="datetime4">
              <a:rPr lang="en-US" sz="800" smtClean="0">
                <a:solidFill>
                  <a:srgbClr val="000000"/>
                </a:solidFill>
              </a:rPr>
              <a:pPr/>
              <a:t>May 14, 2025</a:t>
            </a:fld>
            <a:endParaRPr lang="en-US" sz="800">
              <a:solidFill>
                <a:srgbClr val="000000"/>
              </a:solidFill>
            </a:endParaRPr>
          </a:p>
        </p:txBody>
      </p:sp>
      <p:sp>
        <p:nvSpPr>
          <p:cNvPr id="21" name="Date Placeholder 3"/>
          <p:cNvSpPr txBox="1">
            <a:spLocks/>
          </p:cNvSpPr>
          <p:nvPr userDrawn="1"/>
        </p:nvSpPr>
        <p:spPr>
          <a:xfrm>
            <a:off x="7086600" y="6613161"/>
            <a:ext cx="1828800" cy="182880"/>
          </a:xfrm>
          <a:prstGeom prst="rect">
            <a:avLst/>
          </a:prstGeom>
        </p:spPr>
        <p:txBody>
          <a:bodyPr vert="horz" lIns="0" tIns="0" rIns="0" bIns="0"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fld id="{389EAA8D-D2A6-4960-8FAA-D88D19FD7BD8}" type="slidenum">
              <a:rPr lang="en-US" sz="800" smtClean="0">
                <a:solidFill>
                  <a:srgbClr val="000000"/>
                </a:solidFill>
              </a:rPr>
              <a:pPr/>
              <a:t>‹#›</a:t>
            </a:fld>
            <a:endParaRPr lang="en-US" sz="800">
              <a:solidFill>
                <a:srgbClr val="000000"/>
              </a:solidFill>
            </a:endParaRPr>
          </a:p>
        </p:txBody>
      </p:sp>
    </p:spTree>
    <p:extLst>
      <p:ext uri="{BB962C8B-B14F-4D97-AF65-F5344CB8AC3E}">
        <p14:creationId xmlns:p14="http://schemas.microsoft.com/office/powerpoint/2010/main" val="2146869472"/>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28650" y="6356353"/>
            <a:ext cx="2057400" cy="365125"/>
          </a:xfrm>
          <a:prstGeom prst="rect">
            <a:avLst/>
          </a:prstGeom>
        </p:spPr>
        <p:txBody>
          <a:bodyPr vert="horz" lIns="91430" tIns="45716" rIns="91430" bIns="45716" rtlCol="0" anchor="ctr"/>
          <a:lstStyle>
            <a:lvl1pPr algn="l">
              <a:defRPr sz="1200">
                <a:solidFill>
                  <a:schemeClr val="tx1">
                    <a:tint val="75000"/>
                  </a:schemeClr>
                </a:solidFill>
              </a:defRPr>
            </a:lvl1pPr>
          </a:lstStyle>
          <a:p>
            <a:pPr fontAlgn="auto">
              <a:spcBef>
                <a:spcPts val="0"/>
              </a:spcBef>
              <a:spcAft>
                <a:spcPts val="0"/>
              </a:spcAft>
            </a:pPr>
            <a:endParaRPr lang="en-US">
              <a:solidFill>
                <a:srgbClr val="141414">
                  <a:tint val="75000"/>
                </a:srgbClr>
              </a:solidFill>
              <a:latin typeface="Arial"/>
            </a:endParaRPr>
          </a:p>
        </p:txBody>
      </p:sp>
      <p:sp>
        <p:nvSpPr>
          <p:cNvPr id="6" name="Slide Number Placeholder 5"/>
          <p:cNvSpPr>
            <a:spLocks noGrp="1"/>
          </p:cNvSpPr>
          <p:nvPr>
            <p:ph type="sldNum" sz="quarter" idx="4"/>
          </p:nvPr>
        </p:nvSpPr>
        <p:spPr>
          <a:xfrm>
            <a:off x="6457950" y="6356353"/>
            <a:ext cx="2057400" cy="365125"/>
          </a:xfrm>
          <a:prstGeom prst="rect">
            <a:avLst/>
          </a:prstGeom>
        </p:spPr>
        <p:txBody>
          <a:bodyPr vert="horz" lIns="91430" tIns="45716" rIns="91430" bIns="45716" rtlCol="0" anchor="ctr"/>
          <a:lstStyle>
            <a:lvl1pPr algn="r">
              <a:defRPr sz="1200">
                <a:solidFill>
                  <a:schemeClr val="accent1"/>
                </a:solidFill>
                <a:latin typeface="+mn-lt"/>
              </a:defRPr>
            </a:lvl1pPr>
          </a:lstStyle>
          <a:p>
            <a:pPr fontAlgn="auto">
              <a:spcBef>
                <a:spcPts val="0"/>
              </a:spcBef>
              <a:spcAft>
                <a:spcPts val="0"/>
              </a:spcAft>
            </a:pPr>
            <a:r>
              <a:rPr lang="en-US">
                <a:solidFill>
                  <a:srgbClr val="14558F"/>
                </a:solidFill>
              </a:rPr>
              <a:t>EOTSS  |  </a:t>
            </a:r>
            <a:fld id="{438E4305-7D25-894B-99D8-B239362B8F40}" type="slidenum">
              <a:rPr lang="en-US" smtClean="0">
                <a:solidFill>
                  <a:srgbClr val="14558F"/>
                </a:solidFill>
              </a:rPr>
              <a:pPr fontAlgn="auto">
                <a:spcBef>
                  <a:spcPts val="0"/>
                </a:spcBef>
                <a:spcAft>
                  <a:spcPts val="0"/>
                </a:spcAft>
              </a:pPr>
              <a:t>‹#›</a:t>
            </a:fld>
            <a:endParaRPr lang="en-US">
              <a:solidFill>
                <a:srgbClr val="14558F"/>
              </a:solidFill>
            </a:endParaRPr>
          </a:p>
        </p:txBody>
      </p:sp>
      <p:sp>
        <p:nvSpPr>
          <p:cNvPr id="15" name="Text Placeholder 14"/>
          <p:cNvSpPr>
            <a:spLocks noGrp="1"/>
          </p:cNvSpPr>
          <p:nvPr>
            <p:ph type="body" idx="1"/>
          </p:nvPr>
        </p:nvSpPr>
        <p:spPr>
          <a:xfrm>
            <a:off x="628650" y="1734693"/>
            <a:ext cx="7886700" cy="4351338"/>
          </a:xfrm>
          <a:prstGeom prst="rect">
            <a:avLst/>
          </a:prstGeom>
          <a:noFill/>
          <a:ln>
            <a:noFill/>
          </a:ln>
        </p:spPr>
        <p:style>
          <a:lnRef idx="2">
            <a:schemeClr val="accent1"/>
          </a:lnRef>
          <a:fillRef idx="1">
            <a:schemeClr val="lt1"/>
          </a:fillRef>
          <a:effectRef idx="0">
            <a:schemeClr val="accent1"/>
          </a:effectRef>
          <a:fontRef idx="none"/>
        </p:style>
        <p:txBody>
          <a:bodyPr vert="horz" lIns="91430" tIns="45716" rIns="91430" bIns="4571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5"/>
          <p:cNvSpPr>
            <a:spLocks noGrp="1"/>
          </p:cNvSpPr>
          <p:nvPr>
            <p:ph type="title"/>
          </p:nvPr>
        </p:nvSpPr>
        <p:spPr>
          <a:xfrm>
            <a:off x="624079" y="138493"/>
            <a:ext cx="7891272" cy="1325880"/>
          </a:xfrm>
          <a:prstGeom prst="rect">
            <a:avLst/>
          </a:prstGeom>
          <a:ln>
            <a:noFill/>
          </a:ln>
        </p:spPr>
        <p:txBody>
          <a:bodyPr vert="horz" lIns="91430" tIns="45716" rIns="91430" bIns="45716" rtlCol="0" anchor="ctr">
            <a:normAutofit/>
          </a:bodyPr>
          <a:lstStyle/>
          <a:p>
            <a:r>
              <a:rPr lang="en-US"/>
              <a:t>Click to edit Master title style</a:t>
            </a:r>
          </a:p>
        </p:txBody>
      </p:sp>
      <p:sp>
        <p:nvSpPr>
          <p:cNvPr id="2" name="Footer Placeholder 1"/>
          <p:cNvSpPr>
            <a:spLocks noGrp="1"/>
          </p:cNvSpPr>
          <p:nvPr>
            <p:ph type="ftr" sz="quarter" idx="3"/>
          </p:nvPr>
        </p:nvSpPr>
        <p:spPr>
          <a:xfrm>
            <a:off x="3028951" y="6356352"/>
            <a:ext cx="3086100" cy="365125"/>
          </a:xfrm>
          <a:prstGeom prst="rect">
            <a:avLst/>
          </a:prstGeom>
        </p:spPr>
        <p:txBody>
          <a:bodyPr vert="horz" lIns="91430" tIns="45716" rIns="91430" bIns="45716" rtlCol="0" anchor="ctr"/>
          <a:lstStyle>
            <a:lvl1pPr algn="ctr">
              <a:defRPr sz="1200">
                <a:solidFill>
                  <a:schemeClr val="tx1">
                    <a:tint val="75000"/>
                  </a:schemeClr>
                </a:solidFill>
              </a:defRPr>
            </a:lvl1pPr>
          </a:lstStyle>
          <a:p>
            <a:pPr fontAlgn="auto">
              <a:spcBef>
                <a:spcPts val="0"/>
              </a:spcBef>
              <a:spcAft>
                <a:spcPts val="0"/>
              </a:spcAft>
            </a:pPr>
            <a:endParaRPr lang="en-US">
              <a:solidFill>
                <a:srgbClr val="141414">
                  <a:tint val="75000"/>
                </a:srgbClr>
              </a:solidFill>
              <a:latin typeface="Arial"/>
            </a:endParaRPr>
          </a:p>
        </p:txBody>
      </p:sp>
    </p:spTree>
    <p:extLst>
      <p:ext uri="{BB962C8B-B14F-4D97-AF65-F5344CB8AC3E}">
        <p14:creationId xmlns:p14="http://schemas.microsoft.com/office/powerpoint/2010/main" val="69751259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hf sldNum="0" hdr="0" ftr="0" dt="0"/>
  <p:txStyles>
    <p:titleStyle>
      <a:lvl1pPr algn="l" defTabSz="914303" rtl="0" eaLnBrk="1" latinLnBrk="0" hangingPunct="1">
        <a:lnSpc>
          <a:spcPct val="90000"/>
        </a:lnSpc>
        <a:spcBef>
          <a:spcPct val="0"/>
        </a:spcBef>
        <a:buNone/>
        <a:defRPr sz="2400" b="1" kern="1200">
          <a:solidFill>
            <a:schemeClr val="bg1"/>
          </a:solidFill>
          <a:latin typeface="+mj-lt"/>
          <a:ea typeface="+mj-ea"/>
          <a:cs typeface="+mj-cs"/>
        </a:defRPr>
      </a:lvl1pPr>
    </p:titleStyle>
    <p:bodyStyle>
      <a:lvl1pPr marL="228576" indent="-228576" algn="l" defTabSz="914303" rtl="0" eaLnBrk="1" latinLnBrk="0" hangingPunct="1">
        <a:lnSpc>
          <a:spcPct val="90000"/>
        </a:lnSpc>
        <a:spcBef>
          <a:spcPts val="1000"/>
        </a:spcBef>
        <a:buClr>
          <a:schemeClr val="accent1"/>
        </a:buClr>
        <a:buFont typeface="Wingdings" charset="2"/>
        <a:buChar char="§"/>
        <a:defRPr sz="1400" kern="1200">
          <a:solidFill>
            <a:schemeClr val="tx1"/>
          </a:solidFill>
          <a:latin typeface="+mn-lt"/>
          <a:ea typeface="+mn-ea"/>
          <a:cs typeface="+mn-cs"/>
        </a:defRPr>
      </a:lvl1pPr>
      <a:lvl2pPr marL="685727" indent="-228576" algn="l" defTabSz="914303" rtl="0" eaLnBrk="1" latinLnBrk="0" hangingPunct="1">
        <a:lnSpc>
          <a:spcPct val="90000"/>
        </a:lnSpc>
        <a:spcBef>
          <a:spcPts val="500"/>
        </a:spcBef>
        <a:buClr>
          <a:schemeClr val="accent1"/>
        </a:buClr>
        <a:buFont typeface="Wingdings" charset="2"/>
        <a:buChar char="§"/>
        <a:defRPr sz="1200" kern="1200">
          <a:solidFill>
            <a:schemeClr val="tx1"/>
          </a:solidFill>
          <a:latin typeface="+mn-lt"/>
          <a:ea typeface="+mn-ea"/>
          <a:cs typeface="+mn-cs"/>
        </a:defRPr>
      </a:lvl2pPr>
      <a:lvl3pPr marL="1142879" indent="-228576" algn="l" defTabSz="914303" rtl="0" eaLnBrk="1" latinLnBrk="0" hangingPunct="1">
        <a:lnSpc>
          <a:spcPct val="90000"/>
        </a:lnSpc>
        <a:spcBef>
          <a:spcPts val="500"/>
        </a:spcBef>
        <a:buClr>
          <a:schemeClr val="accent1"/>
        </a:buClr>
        <a:buFont typeface="Wingdings" charset="2"/>
        <a:buChar char="§"/>
        <a:defRPr sz="1100" kern="1200">
          <a:solidFill>
            <a:schemeClr val="tx1"/>
          </a:solidFill>
          <a:latin typeface="+mn-lt"/>
          <a:ea typeface="+mn-ea"/>
          <a:cs typeface="+mn-cs"/>
        </a:defRPr>
      </a:lvl3pPr>
      <a:lvl4pPr marL="1600030" indent="-228576" algn="l" defTabSz="914303" rtl="0" eaLnBrk="1" latinLnBrk="0" hangingPunct="1">
        <a:lnSpc>
          <a:spcPct val="90000"/>
        </a:lnSpc>
        <a:spcBef>
          <a:spcPts val="500"/>
        </a:spcBef>
        <a:buClr>
          <a:schemeClr val="accent1"/>
        </a:buClr>
        <a:buFont typeface="Wingdings" charset="2"/>
        <a:buChar char="§"/>
        <a:defRPr sz="1000" kern="1200">
          <a:solidFill>
            <a:schemeClr val="tx1"/>
          </a:solidFill>
          <a:latin typeface="+mn-lt"/>
          <a:ea typeface="+mn-ea"/>
          <a:cs typeface="+mn-cs"/>
        </a:defRPr>
      </a:lvl4pPr>
      <a:lvl5pPr marL="2057182" indent="-228576" algn="l" defTabSz="914303" rtl="0" eaLnBrk="1" latinLnBrk="0" hangingPunct="1">
        <a:lnSpc>
          <a:spcPct val="90000"/>
        </a:lnSpc>
        <a:spcBef>
          <a:spcPts val="500"/>
        </a:spcBef>
        <a:buClr>
          <a:schemeClr val="accent1"/>
        </a:buClr>
        <a:buFont typeface="Wingdings" charset="2"/>
        <a:buChar char="§"/>
        <a:defRPr sz="900" kern="1200">
          <a:solidFill>
            <a:schemeClr val="tx1"/>
          </a:solidFill>
          <a:latin typeface="+mn-lt"/>
          <a:ea typeface="+mn-ea"/>
          <a:cs typeface="+mn-cs"/>
        </a:defRPr>
      </a:lvl5pPr>
      <a:lvl6pPr marL="2514333"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85"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37"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88" indent="-228576" algn="l" defTabSz="91430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userDrawn="1"/>
        </p:nvCxnSpPr>
        <p:spPr>
          <a:xfrm>
            <a:off x="448408" y="720969"/>
            <a:ext cx="7499252"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8408" y="1363744"/>
            <a:ext cx="832104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448408" y="6280637"/>
            <a:ext cx="832104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32" name="Date Placeholder 3"/>
          <p:cNvSpPr txBox="1">
            <a:spLocks/>
          </p:cNvSpPr>
          <p:nvPr userDrawn="1"/>
        </p:nvSpPr>
        <p:spPr>
          <a:xfrm>
            <a:off x="351696" y="6297778"/>
            <a:ext cx="2340704"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a:solidFill>
                  <a:srgbClr val="000000"/>
                </a:solidFill>
              </a:rPr>
              <a:t>FY19 H.1 Recommendations</a:t>
            </a:r>
          </a:p>
        </p:txBody>
      </p:sp>
      <p:sp>
        <p:nvSpPr>
          <p:cNvPr id="33" name="Date Placeholder 3"/>
          <p:cNvSpPr txBox="1">
            <a:spLocks/>
          </p:cNvSpPr>
          <p:nvPr userDrawn="1"/>
        </p:nvSpPr>
        <p:spPr>
          <a:xfrm>
            <a:off x="351696" y="6417232"/>
            <a:ext cx="3064502"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a:solidFill>
                  <a:srgbClr val="000000"/>
                </a:solidFill>
              </a:rPr>
              <a:t>Housing and Economic Development</a:t>
            </a:r>
          </a:p>
        </p:txBody>
      </p:sp>
      <p:sp>
        <p:nvSpPr>
          <p:cNvPr id="40" name="Slide Number Placeholder 6"/>
          <p:cNvSpPr txBox="1">
            <a:spLocks/>
          </p:cNvSpPr>
          <p:nvPr userDrawn="1"/>
        </p:nvSpPr>
        <p:spPr>
          <a:xfrm>
            <a:off x="8149379" y="6543216"/>
            <a:ext cx="762001" cy="228600"/>
          </a:xfrm>
          <a:prstGeom prst="rect">
            <a:avLst/>
          </a:prstGeom>
        </p:spPr>
        <p:txBody>
          <a:bodyPr vert="horz" wrap="square" lIns="91430" tIns="45716" rIns="91430" bIns="45716" numCol="1" anchor="ctr" anchorCtr="0" compatLnSpc="1">
            <a:prstTxWarp prst="textNoShape">
              <a:avLst/>
            </a:prstTxWarp>
          </a:bodyPr>
          <a:lstStyle>
            <a:lvl1pPr>
              <a:defRPr/>
            </a:lvl1pPr>
          </a:lstStyle>
          <a:p>
            <a:pPr algn="r" fontAlgn="auto">
              <a:spcBef>
                <a:spcPts val="0"/>
              </a:spcBef>
              <a:spcAft>
                <a:spcPts val="0"/>
              </a:spcAft>
              <a:defRPr/>
            </a:pPr>
            <a:fld id="{9CFA4524-850C-6D4F-85BC-70D4F7341579}" type="slidenum">
              <a:rPr lang="en-US" sz="1000" smtClean="0">
                <a:solidFill>
                  <a:srgbClr val="000000"/>
                </a:solidFill>
                <a:latin typeface="Arial" pitchFamily="34" charset="0"/>
              </a:rPr>
              <a:pPr algn="r" fontAlgn="auto">
                <a:spcBef>
                  <a:spcPts val="0"/>
                </a:spcBef>
                <a:spcAft>
                  <a:spcPts val="0"/>
                </a:spcAft>
                <a:defRPr/>
              </a:pPr>
              <a:t>‹#›</a:t>
            </a:fld>
            <a:endParaRPr lang="en-US" sz="1000">
              <a:solidFill>
                <a:srgbClr val="000000"/>
              </a:solidFill>
              <a:latin typeface="Arial" pitchFamily="34" charset="0"/>
            </a:endParaRPr>
          </a:p>
        </p:txBody>
      </p:sp>
      <p:sp>
        <p:nvSpPr>
          <p:cNvPr id="41" name="Content Placeholder 8"/>
          <p:cNvSpPr txBox="1">
            <a:spLocks/>
          </p:cNvSpPr>
          <p:nvPr userDrawn="1"/>
        </p:nvSpPr>
        <p:spPr>
          <a:xfrm>
            <a:off x="470001" y="1698958"/>
            <a:ext cx="8348472" cy="4438496"/>
          </a:xfrm>
          <a:prstGeom prst="rect">
            <a:avLst/>
          </a:prstGeom>
        </p:spPr>
        <p:txBody>
          <a:bodyPr lIns="91430" tIns="45716" rIns="91430" bIns="45716"/>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buClr>
                <a:srgbClr val="000000"/>
              </a:buClr>
            </a:pPr>
            <a:endParaRPr lang="en-US">
              <a:solidFill>
                <a:srgbClr val="000000"/>
              </a:solidFill>
            </a:endParaRPr>
          </a:p>
        </p:txBody>
      </p:sp>
      <p:pic>
        <p:nvPicPr>
          <p:cNvPr id="12" name="Picture 2" descr="https://upload.wikimedia.org/wikipedia/commons/thumb/8/82/Seal_of_Massachusetts.svg/2000px-Seal_of_Massachusetts.svg.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22499" y="217488"/>
            <a:ext cx="720969" cy="72096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a:solidFill>
                  <a:srgbClr val="000000"/>
                </a:solidFill>
              </a:rPr>
              <a:t>Draft: For Policy Development Purposes</a:t>
            </a:r>
          </a:p>
        </p:txBody>
      </p:sp>
      <p:sp>
        <p:nvSpPr>
          <p:cNvPr id="17" name="Footer Placeholder 3"/>
          <p:cNvSpPr txBox="1">
            <a:spLocks/>
          </p:cNvSpPr>
          <p:nvPr userDrawn="1"/>
        </p:nvSpPr>
        <p:spPr>
          <a:xfrm>
            <a:off x="7182466" y="6270478"/>
            <a:ext cx="1661002" cy="182747"/>
          </a:xfrm>
          <a:prstGeom prst="rect">
            <a:avLst/>
          </a:prstGeom>
        </p:spPr>
        <p:txBody>
          <a:bodyPr lIns="91430" tIns="45716" rIns="91430" bIns="45716"/>
          <a:lstStyle>
            <a:defPPr>
              <a:defRPr lang="en-US"/>
            </a:defPPr>
            <a:lvl1pPr algn="ctr" rtl="0" fontAlgn="base">
              <a:spcBef>
                <a:spcPct val="0"/>
              </a:spcBef>
              <a:spcAft>
                <a:spcPct val="0"/>
              </a:spcAft>
              <a:defRPr sz="800"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US">
                <a:solidFill>
                  <a:srgbClr val="000000"/>
                </a:solidFill>
              </a:rPr>
              <a:t>Updated: January 22, 2018</a:t>
            </a:r>
          </a:p>
        </p:txBody>
      </p:sp>
    </p:spTree>
    <p:extLst>
      <p:ext uri="{BB962C8B-B14F-4D97-AF65-F5344CB8AC3E}">
        <p14:creationId xmlns:p14="http://schemas.microsoft.com/office/powerpoint/2010/main" val="2892522962"/>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4022076783"/>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3" imgW="6350000" imgH="6350000" progId="TCLayout.ActiveDocument.1">
                  <p:embed/>
                </p:oleObj>
              </mc:Choice>
              <mc:Fallback>
                <p:oleObj name="think-cell Slide" r:id="rId23" imgW="6350000" imgH="6350000" progId="TCLayout.ActiveDocument.1">
                  <p:embed/>
                  <p:pic>
                    <p:nvPicPr>
                      <p:cNvPr id="2" name="Object 1" hidden="1"/>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21503"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latin typeface="Aria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Unit of measure</a:t>
            </a:r>
          </a:p>
        </p:txBody>
      </p:sp>
      <p:grpSp>
        <p:nvGrpSpPr>
          <p:cNvPr id="6" name="McK Slide Elements" hidden="1"/>
          <p:cNvGrpSpPr/>
          <p:nvPr/>
        </p:nvGrpSpPr>
        <p:grpSpPr bwMode="auto">
          <a:xfrm>
            <a:off x="1393428" y="6159555"/>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776" indent="-478776" defTabSz="912266">
                <a:tabLst>
                  <a:tab pos="490101" algn="l"/>
                  <a:tab pos="677732" algn="l"/>
                </a:tabLst>
              </a:pPr>
              <a:r>
                <a:rPr lang="en-US" sz="1000">
                  <a:solidFill>
                    <a:srgbClr val="000000"/>
                  </a:solidFill>
                  <a:latin typeface="Aria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a:solidFill>
                    <a:srgbClr val="000000"/>
                  </a:solidFill>
                  <a:latin typeface="Arial"/>
                </a:rPr>
                <a:t>Title</a:t>
              </a:r>
            </a:p>
            <a:p>
              <a:r>
                <a:rPr lang="en-US" sz="1600">
                  <a:solidFill>
                    <a:srgbClr val="808080"/>
                  </a:solidFill>
                  <a:latin typeface="Arial"/>
                </a:rPr>
                <a:t>Unit of measure</a:t>
              </a:r>
            </a:p>
          </p:txBody>
        </p:sp>
      </p:grpSp>
      <p:sp>
        <p:nvSpPr>
          <p:cNvPr id="20" name="SlideLogoText"/>
          <p:cNvSpPr>
            <a:spLocks noChangeArrowheads="1"/>
          </p:cNvSpPr>
          <p:nvPr userDrawn="1">
            <p:custDataLst>
              <p:tags r:id="rId7"/>
            </p:custDataLst>
          </p:nvPr>
        </p:nvSpPr>
        <p:spPr bwMode="auto">
          <a:xfrm>
            <a:off x="5673782" y="6682165"/>
            <a:ext cx="3389086"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a:r>
              <a:rPr lang="en-US" sz="1000">
                <a:solidFill>
                  <a:srgbClr val="000000"/>
                </a:solidFill>
                <a:latin typeface="Arial"/>
                <a:cs typeface="Arial" charset="0"/>
              </a:rPr>
              <a:t>Confidential – for policy development purposes only   |   </a:t>
            </a:r>
            <a:fld id="{1B845CE2-52C6-D640-906F-6FEE9CFEE2EC}" type="slidenum">
              <a:rPr lang="en-US" sz="1000" smtClean="0">
                <a:solidFill>
                  <a:srgbClr val="000000"/>
                </a:solidFill>
              </a:rPr>
              <a:pPr algn="r"/>
              <a:t>‹#›</a:t>
            </a:fld>
            <a:endParaRPr lang="en-US" sz="1000">
              <a:solidFill>
                <a:srgbClr val="000000"/>
              </a:solidFill>
            </a:endParaRPr>
          </a:p>
        </p:txBody>
      </p:sp>
      <p:grpSp>
        <p:nvGrpSpPr>
          <p:cNvPr id="25" name="LegendBoxes" hidden="1"/>
          <p:cNvGrpSpPr>
            <a:grpSpLocks/>
          </p:cNvGrpSpPr>
          <p:nvPr/>
        </p:nvGrpSpPr>
        <p:grpSpPr bwMode="auto">
          <a:xfrm>
            <a:off x="8136458" y="296421"/>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34" name="LegendLines" hidden="1"/>
          <p:cNvGrpSpPr>
            <a:grpSpLocks/>
          </p:cNvGrpSpPr>
          <p:nvPr/>
        </p:nvGrpSpPr>
        <p:grpSpPr bwMode="auto">
          <a:xfrm>
            <a:off x="7822223"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a:solidFill>
                    <a:srgbClr val="000000"/>
                  </a:solidFill>
                  <a:latin typeface="Aria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a:solidFill>
                    <a:srgbClr val="000000"/>
                  </a:solidFill>
                  <a:latin typeface="Aria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a:solidFill>
                    <a:srgbClr val="000000"/>
                  </a:solidFill>
                  <a:latin typeface="Arial"/>
                </a:rPr>
                <a:t>Legend</a:t>
              </a:r>
            </a:p>
          </p:txBody>
        </p:sp>
      </p:grpSp>
      <p:grpSp>
        <p:nvGrpSpPr>
          <p:cNvPr id="41" name="McKSticker" hidden="1"/>
          <p:cNvGrpSpPr/>
          <p:nvPr/>
        </p:nvGrpSpPr>
        <p:grpSpPr bwMode="auto">
          <a:xfrm>
            <a:off x="7826986"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266">
                <a:buClr>
                  <a:srgbClr val="002960"/>
                </a:buClr>
              </a:pPr>
              <a:r>
                <a:rPr lang="en-US" sz="120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8" y="296408"/>
            <a:ext cx="847347" cy="1333054"/>
            <a:chOff x="6655594" y="273840"/>
            <a:chExt cx="830430" cy="1306516"/>
          </a:xfrm>
        </p:grpSpPr>
        <p:grpSp>
          <p:nvGrpSpPr>
            <p:cNvPr id="46" name="MoonLegend1"/>
            <p:cNvGrpSpPr>
              <a:grpSpLocks noChangeAspect="1"/>
            </p:cNvGrpSpPr>
            <p:nvPr>
              <p:custDataLst>
                <p:tags r:id="rId8"/>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5"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7" name="MoonLegend2"/>
            <p:cNvGrpSpPr>
              <a:grpSpLocks noChangeAspect="1"/>
            </p:cNvGrpSpPr>
            <p:nvPr>
              <p:custDataLst>
                <p:tags r:id="rId9"/>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8" name="MoonLegend4"/>
            <p:cNvGrpSpPr>
              <a:grpSpLocks noChangeAspect="1"/>
            </p:cNvGrpSpPr>
            <p:nvPr>
              <p:custDataLst>
                <p:tags r:id="rId10"/>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9" name="MoonLegend5"/>
            <p:cNvGrpSpPr>
              <a:grpSpLocks noChangeAspect="1"/>
            </p:cNvGrpSpPr>
            <p:nvPr>
              <p:custDataLst>
                <p:tags r:id="rId11"/>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9"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a:solidFill>
                    <a:srgbClr val="000000"/>
                  </a:solidFill>
                  <a:latin typeface="Aria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a:solidFill>
                    <a:srgbClr val="000000"/>
                  </a:solidFill>
                  <a:latin typeface="Aria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a:solidFill>
                    <a:srgbClr val="000000"/>
                  </a:solidFill>
                  <a:latin typeface="Aria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a:solidFill>
                    <a:srgbClr val="000000"/>
                  </a:solidFill>
                  <a:latin typeface="Aria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266">
                <a:buClr>
                  <a:srgbClr val="002960"/>
                </a:buClr>
              </a:pPr>
              <a:r>
                <a:rPr lang="en-US" sz="1200">
                  <a:solidFill>
                    <a:srgbClr val="000000"/>
                  </a:solidFill>
                  <a:latin typeface="Arial"/>
                </a:rPr>
                <a:t>Legend</a:t>
              </a:r>
            </a:p>
          </p:txBody>
        </p:sp>
        <p:grpSp>
          <p:nvGrpSpPr>
            <p:cNvPr id="55" name="MoonLegend3"/>
            <p:cNvGrpSpPr>
              <a:grpSpLocks noChangeAspect="1"/>
            </p:cNvGrpSpPr>
            <p:nvPr>
              <p:custDataLst>
                <p:tags r:id="rId12"/>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7"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spTree>
    <p:extLst>
      <p:ext uri="{BB962C8B-B14F-4D97-AF65-F5344CB8AC3E}">
        <p14:creationId xmlns:p14="http://schemas.microsoft.com/office/powerpoint/2010/main" val="2769408318"/>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Lst>
  <p:hf sldNum="0" hdr="0" ftr="0" dt="0"/>
  <p:txStyles>
    <p:titleStyle>
      <a:lvl1pPr algn="l" defTabSz="912266" rtl="0" eaLnBrk="1" fontAlgn="base" hangingPunct="1">
        <a:spcBef>
          <a:spcPct val="0"/>
        </a:spcBef>
        <a:spcAft>
          <a:spcPct val="0"/>
        </a:spcAft>
        <a:tabLst>
          <a:tab pos="274974" algn="l"/>
        </a:tabLst>
        <a:defRPr sz="1900" b="1" baseline="0">
          <a:solidFill>
            <a:schemeClr val="tx2"/>
          </a:solidFill>
          <a:latin typeface="+mj-lt"/>
          <a:ea typeface="+mj-ea"/>
          <a:cs typeface="+mj-cs"/>
        </a:defRPr>
      </a:lvl1pPr>
      <a:lvl2pPr algn="l" defTabSz="912266" rtl="0" eaLnBrk="1" fontAlgn="base" hangingPunct="1">
        <a:spcBef>
          <a:spcPct val="0"/>
        </a:spcBef>
        <a:spcAft>
          <a:spcPct val="0"/>
        </a:spcAft>
        <a:defRPr sz="1900" b="1">
          <a:solidFill>
            <a:schemeClr val="tx2"/>
          </a:solidFill>
          <a:latin typeface="Arial" charset="0"/>
        </a:defRPr>
      </a:lvl2pPr>
      <a:lvl3pPr algn="l" defTabSz="912266" rtl="0" eaLnBrk="1" fontAlgn="base" hangingPunct="1">
        <a:spcBef>
          <a:spcPct val="0"/>
        </a:spcBef>
        <a:spcAft>
          <a:spcPct val="0"/>
        </a:spcAft>
        <a:defRPr sz="1900" b="1">
          <a:solidFill>
            <a:schemeClr val="tx2"/>
          </a:solidFill>
          <a:latin typeface="Arial" charset="0"/>
        </a:defRPr>
      </a:lvl3pPr>
      <a:lvl4pPr algn="l" defTabSz="912266" rtl="0" eaLnBrk="1" fontAlgn="base" hangingPunct="1">
        <a:spcBef>
          <a:spcPct val="0"/>
        </a:spcBef>
        <a:spcAft>
          <a:spcPct val="0"/>
        </a:spcAft>
        <a:defRPr sz="1900" b="1">
          <a:solidFill>
            <a:schemeClr val="tx2"/>
          </a:solidFill>
          <a:latin typeface="Arial" charset="0"/>
        </a:defRPr>
      </a:lvl4pPr>
      <a:lvl5pPr algn="l" defTabSz="912266" rtl="0" eaLnBrk="1" fontAlgn="base" hangingPunct="1">
        <a:spcBef>
          <a:spcPct val="0"/>
        </a:spcBef>
        <a:spcAft>
          <a:spcPct val="0"/>
        </a:spcAft>
        <a:defRPr sz="1900" b="1">
          <a:solidFill>
            <a:schemeClr val="tx2"/>
          </a:solidFill>
          <a:latin typeface="Arial" charset="0"/>
        </a:defRPr>
      </a:lvl5pPr>
      <a:lvl6pPr marL="465831" algn="l" defTabSz="912266" rtl="0" eaLnBrk="1" fontAlgn="base" hangingPunct="1">
        <a:spcBef>
          <a:spcPct val="0"/>
        </a:spcBef>
        <a:spcAft>
          <a:spcPct val="0"/>
        </a:spcAft>
        <a:defRPr sz="1900" b="1">
          <a:solidFill>
            <a:schemeClr val="tx2"/>
          </a:solidFill>
          <a:latin typeface="Arial" charset="0"/>
        </a:defRPr>
      </a:lvl6pPr>
      <a:lvl7pPr marL="931680" algn="l" defTabSz="912266" rtl="0" eaLnBrk="1" fontAlgn="base" hangingPunct="1">
        <a:spcBef>
          <a:spcPct val="0"/>
        </a:spcBef>
        <a:spcAft>
          <a:spcPct val="0"/>
        </a:spcAft>
        <a:defRPr sz="1900" b="1">
          <a:solidFill>
            <a:schemeClr val="tx2"/>
          </a:solidFill>
          <a:latin typeface="Arial" charset="0"/>
        </a:defRPr>
      </a:lvl7pPr>
      <a:lvl8pPr marL="1397519" algn="l" defTabSz="912266" rtl="0" eaLnBrk="1" fontAlgn="base" hangingPunct="1">
        <a:spcBef>
          <a:spcPct val="0"/>
        </a:spcBef>
        <a:spcAft>
          <a:spcPct val="0"/>
        </a:spcAft>
        <a:defRPr sz="1900" b="1">
          <a:solidFill>
            <a:schemeClr val="tx2"/>
          </a:solidFill>
          <a:latin typeface="Arial" charset="0"/>
        </a:defRPr>
      </a:lvl8pPr>
      <a:lvl9pPr marL="1863352" algn="l" defTabSz="912266" rtl="0" eaLnBrk="1" fontAlgn="base" hangingPunct="1">
        <a:spcBef>
          <a:spcPct val="0"/>
        </a:spcBef>
        <a:spcAft>
          <a:spcPct val="0"/>
        </a:spcAft>
        <a:defRPr sz="1900" b="1">
          <a:solidFill>
            <a:schemeClr val="tx2"/>
          </a:solidFill>
          <a:latin typeface="Arial" charset="0"/>
        </a:defRPr>
      </a:lvl9pPr>
    </p:titleStyle>
    <p:bodyStyle>
      <a:lvl1pPr marL="0" indent="0" algn="l" defTabSz="91226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35" indent="-195718" algn="l" defTabSz="91226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31" indent="-266888" algn="l" defTabSz="91226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5972" indent="-158516" algn="l" defTabSz="91226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3975" indent="-132634" algn="l" defTabSz="91226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680" rtl="0" eaLnBrk="1" latinLnBrk="0" hangingPunct="1">
        <a:defRPr sz="1800" kern="1200">
          <a:solidFill>
            <a:schemeClr val="tx1"/>
          </a:solidFill>
          <a:latin typeface="+mn-lt"/>
          <a:ea typeface="+mn-ea"/>
          <a:cs typeface="+mn-cs"/>
        </a:defRPr>
      </a:lvl1pPr>
      <a:lvl2pPr marL="465831" algn="l" defTabSz="931680" rtl="0" eaLnBrk="1" latinLnBrk="0" hangingPunct="1">
        <a:defRPr sz="1800" kern="1200">
          <a:solidFill>
            <a:schemeClr val="tx1"/>
          </a:solidFill>
          <a:latin typeface="+mn-lt"/>
          <a:ea typeface="+mn-ea"/>
          <a:cs typeface="+mn-cs"/>
        </a:defRPr>
      </a:lvl2pPr>
      <a:lvl3pPr marL="931680" algn="l" defTabSz="931680" rtl="0" eaLnBrk="1" latinLnBrk="0" hangingPunct="1">
        <a:defRPr sz="1800" kern="1200">
          <a:solidFill>
            <a:schemeClr val="tx1"/>
          </a:solidFill>
          <a:latin typeface="+mn-lt"/>
          <a:ea typeface="+mn-ea"/>
          <a:cs typeface="+mn-cs"/>
        </a:defRPr>
      </a:lvl3pPr>
      <a:lvl4pPr marL="1397519" algn="l" defTabSz="931680" rtl="0" eaLnBrk="1" latinLnBrk="0" hangingPunct="1">
        <a:defRPr sz="1800" kern="1200">
          <a:solidFill>
            <a:schemeClr val="tx1"/>
          </a:solidFill>
          <a:latin typeface="+mn-lt"/>
          <a:ea typeface="+mn-ea"/>
          <a:cs typeface="+mn-cs"/>
        </a:defRPr>
      </a:lvl4pPr>
      <a:lvl5pPr marL="1863352" algn="l" defTabSz="931680" rtl="0" eaLnBrk="1" latinLnBrk="0" hangingPunct="1">
        <a:defRPr sz="1800" kern="1200">
          <a:solidFill>
            <a:schemeClr val="tx1"/>
          </a:solidFill>
          <a:latin typeface="+mn-lt"/>
          <a:ea typeface="+mn-ea"/>
          <a:cs typeface="+mn-cs"/>
        </a:defRPr>
      </a:lvl5pPr>
      <a:lvl6pPr marL="2329194" algn="l" defTabSz="931680" rtl="0" eaLnBrk="1" latinLnBrk="0" hangingPunct="1">
        <a:defRPr sz="1800" kern="1200">
          <a:solidFill>
            <a:schemeClr val="tx1"/>
          </a:solidFill>
          <a:latin typeface="+mn-lt"/>
          <a:ea typeface="+mn-ea"/>
          <a:cs typeface="+mn-cs"/>
        </a:defRPr>
      </a:lvl6pPr>
      <a:lvl7pPr marL="2795032" algn="l" defTabSz="931680" rtl="0" eaLnBrk="1" latinLnBrk="0" hangingPunct="1">
        <a:defRPr sz="1800" kern="1200">
          <a:solidFill>
            <a:schemeClr val="tx1"/>
          </a:solidFill>
          <a:latin typeface="+mn-lt"/>
          <a:ea typeface="+mn-ea"/>
          <a:cs typeface="+mn-cs"/>
        </a:defRPr>
      </a:lvl7pPr>
      <a:lvl8pPr marL="3260870" algn="l" defTabSz="931680" rtl="0" eaLnBrk="1" latinLnBrk="0" hangingPunct="1">
        <a:defRPr sz="1800" kern="1200">
          <a:solidFill>
            <a:schemeClr val="tx1"/>
          </a:solidFill>
          <a:latin typeface="+mn-lt"/>
          <a:ea typeface="+mn-ea"/>
          <a:cs typeface="+mn-cs"/>
        </a:defRPr>
      </a:lvl8pPr>
      <a:lvl9pPr marL="3726710" algn="l" defTabSz="93168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 name="Date Placeholder 1"/>
          <p:cNvSpPr>
            <a:spLocks noGrp="1"/>
          </p:cNvSpPr>
          <p:nvPr>
            <p:ph type="dt" sz="half" idx="2"/>
          </p:nvPr>
        </p:nvSpPr>
        <p:spPr>
          <a:xfrm>
            <a:off x="7201100" y="6269581"/>
            <a:ext cx="1673352" cy="155448"/>
          </a:xfrm>
          <a:prstGeom prst="rect">
            <a:avLst/>
          </a:prstGeom>
        </p:spPr>
        <p:txBody>
          <a:bodyPr lIns="91430" tIns="45716" rIns="91430" bIns="45716"/>
          <a:lstStyle>
            <a:lvl1pPr algn="r">
              <a:defRPr sz="800"/>
            </a:lvl1pPr>
          </a:lstStyle>
          <a:p>
            <a:endParaRPr lang="en-US">
              <a:solidFill>
                <a:srgbClr val="000000"/>
              </a:solidFill>
            </a:endParaRPr>
          </a:p>
        </p:txBody>
      </p:sp>
      <p:cxnSp>
        <p:nvCxnSpPr>
          <p:cNvPr id="27" name="Straight Connector 26"/>
          <p:cNvCxnSpPr/>
          <p:nvPr userDrawn="1"/>
        </p:nvCxnSpPr>
        <p:spPr>
          <a:xfrm>
            <a:off x="448408" y="720969"/>
            <a:ext cx="7499252" cy="0"/>
          </a:xfrm>
          <a:prstGeom prst="line">
            <a:avLst/>
          </a:prstGeom>
          <a:ln w="12700">
            <a:solidFill>
              <a:srgbClr val="000099"/>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a:xfrm>
            <a:off x="448408" y="1363744"/>
            <a:ext cx="8321040" cy="0"/>
          </a:xfrm>
          <a:prstGeom prst="line">
            <a:avLst/>
          </a:prstGeom>
          <a:ln w="9525">
            <a:solidFill>
              <a:srgbClr val="00B0F0"/>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a:off x="448408" y="6280637"/>
            <a:ext cx="8321040" cy="0"/>
          </a:xfrm>
          <a:prstGeom prst="line">
            <a:avLst/>
          </a:prstGeom>
          <a:ln w="9525">
            <a:solidFill>
              <a:srgbClr val="00B0F0"/>
            </a:solidFill>
            <a:miter lim="800000"/>
          </a:ln>
        </p:spPr>
        <p:style>
          <a:lnRef idx="1">
            <a:schemeClr val="accent1"/>
          </a:lnRef>
          <a:fillRef idx="0">
            <a:schemeClr val="accent1"/>
          </a:fillRef>
          <a:effectRef idx="0">
            <a:schemeClr val="accent1"/>
          </a:effectRef>
          <a:fontRef idx="minor">
            <a:schemeClr val="tx1"/>
          </a:fontRef>
        </p:style>
      </p:cxnSp>
      <p:sp>
        <p:nvSpPr>
          <p:cNvPr id="32" name="Date Placeholder 3"/>
          <p:cNvSpPr txBox="1">
            <a:spLocks/>
          </p:cNvSpPr>
          <p:nvPr userDrawn="1"/>
        </p:nvSpPr>
        <p:spPr>
          <a:xfrm>
            <a:off x="351696" y="6297778"/>
            <a:ext cx="2340704"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a:solidFill>
                  <a:srgbClr val="000000"/>
                </a:solidFill>
              </a:rPr>
              <a:t>House 1 Recommendation for Education</a:t>
            </a:r>
          </a:p>
        </p:txBody>
      </p:sp>
      <p:sp>
        <p:nvSpPr>
          <p:cNvPr id="33" name="Date Placeholder 3"/>
          <p:cNvSpPr txBox="1">
            <a:spLocks/>
          </p:cNvSpPr>
          <p:nvPr userDrawn="1"/>
        </p:nvSpPr>
        <p:spPr>
          <a:xfrm>
            <a:off x="351696" y="6417232"/>
            <a:ext cx="3064502" cy="155448"/>
          </a:xfrm>
          <a:prstGeom prst="rect">
            <a:avLst/>
          </a:prstGeom>
        </p:spPr>
        <p:txBody>
          <a:bodyPr vert="horz" lIns="101871" tIns="50935" rIns="101871" bIns="50935" rtlCol="0" anchor="ctr"/>
          <a:lstStyle>
            <a:defPPr>
              <a:defRPr lang="en-US"/>
            </a:defPPr>
            <a:lvl1pPr algn="r" rtl="0" fontAlgn="base">
              <a:spcBef>
                <a:spcPct val="0"/>
              </a:spcBef>
              <a:spcAft>
                <a:spcPct val="0"/>
              </a:spcAft>
              <a:defRPr sz="900" kern="1200">
                <a:solidFill>
                  <a:schemeClr val="tx1"/>
                </a:solidFill>
                <a:latin typeface="Arial"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l"/>
            <a:r>
              <a:rPr lang="en-US" sz="800">
                <a:solidFill>
                  <a:srgbClr val="000000"/>
                </a:solidFill>
              </a:rPr>
              <a:t>A&amp;F</a:t>
            </a:r>
          </a:p>
        </p:txBody>
      </p:sp>
      <p:sp>
        <p:nvSpPr>
          <p:cNvPr id="40" name="Slide Number Placeholder 6"/>
          <p:cNvSpPr txBox="1">
            <a:spLocks/>
          </p:cNvSpPr>
          <p:nvPr userDrawn="1"/>
        </p:nvSpPr>
        <p:spPr>
          <a:xfrm>
            <a:off x="8149379" y="6543216"/>
            <a:ext cx="762001" cy="228600"/>
          </a:xfrm>
          <a:prstGeom prst="rect">
            <a:avLst/>
          </a:prstGeom>
        </p:spPr>
        <p:txBody>
          <a:bodyPr vert="horz" wrap="square" lIns="91430" tIns="45716" rIns="91430" bIns="45716" numCol="1" anchor="ctr" anchorCtr="0" compatLnSpc="1">
            <a:prstTxWarp prst="textNoShape">
              <a:avLst/>
            </a:prstTxWarp>
          </a:bodyPr>
          <a:lstStyle>
            <a:lvl1pPr>
              <a:defRPr/>
            </a:lvl1pPr>
          </a:lstStyle>
          <a:p>
            <a:pPr algn="r" fontAlgn="auto">
              <a:spcBef>
                <a:spcPts val="0"/>
              </a:spcBef>
              <a:spcAft>
                <a:spcPts val="0"/>
              </a:spcAft>
              <a:defRPr/>
            </a:pPr>
            <a:fld id="{9CFA4524-850C-6D4F-85BC-70D4F7341579}" type="slidenum">
              <a:rPr lang="en-US" sz="1000" smtClean="0">
                <a:solidFill>
                  <a:srgbClr val="000000"/>
                </a:solidFill>
                <a:latin typeface="Arial" pitchFamily="34" charset="0"/>
              </a:rPr>
              <a:pPr algn="r" fontAlgn="auto">
                <a:spcBef>
                  <a:spcPts val="0"/>
                </a:spcBef>
                <a:spcAft>
                  <a:spcPts val="0"/>
                </a:spcAft>
                <a:defRPr/>
              </a:pPr>
              <a:t>‹#›</a:t>
            </a:fld>
            <a:endParaRPr lang="en-US" sz="1000">
              <a:solidFill>
                <a:srgbClr val="000000"/>
              </a:solidFill>
              <a:latin typeface="Arial" pitchFamily="34" charset="0"/>
            </a:endParaRPr>
          </a:p>
        </p:txBody>
      </p:sp>
      <p:sp>
        <p:nvSpPr>
          <p:cNvPr id="41" name="Content Placeholder 8"/>
          <p:cNvSpPr txBox="1">
            <a:spLocks/>
          </p:cNvSpPr>
          <p:nvPr userDrawn="1"/>
        </p:nvSpPr>
        <p:spPr>
          <a:xfrm>
            <a:off x="470001" y="1698958"/>
            <a:ext cx="8348472" cy="4438496"/>
          </a:xfrm>
          <a:prstGeom prst="rect">
            <a:avLst/>
          </a:prstGeom>
        </p:spPr>
        <p:txBody>
          <a:bodyPr lIns="91430" tIns="45716" rIns="91430" bIns="45716"/>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buClr>
                <a:srgbClr val="000000"/>
              </a:buClr>
            </a:pPr>
            <a:endParaRPr lang="en-US">
              <a:solidFill>
                <a:srgbClr val="000000"/>
              </a:solidFill>
            </a:endParaRPr>
          </a:p>
        </p:txBody>
      </p:sp>
      <p:pic>
        <p:nvPicPr>
          <p:cNvPr id="12" name="Picture 2" descr="https://upload.wikimedia.org/wikipedia/commons/thumb/8/82/Seal_of_Massachusetts.svg/2000px-Seal_of_Massachusetts.svg.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22499" y="217488"/>
            <a:ext cx="720969" cy="72096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userDrawn="1"/>
        </p:nvSpPr>
        <p:spPr>
          <a:xfrm>
            <a:off x="3265715" y="6283293"/>
            <a:ext cx="2612572" cy="217937"/>
          </a:xfrm>
          <a:prstGeom prst="rect">
            <a:avLst/>
          </a:prstGeom>
          <a:noFill/>
        </p:spPr>
        <p:txBody>
          <a:bodyPr wrap="square" lIns="91430" tIns="45716" rIns="91430" bIns="45716" rtlCol="0">
            <a:spAutoFit/>
          </a:bodyPr>
          <a:lstStyle/>
          <a:p>
            <a:pPr algn="ctr">
              <a:defRPr/>
            </a:pPr>
            <a:r>
              <a:rPr lang="en-US" sz="800">
                <a:solidFill>
                  <a:srgbClr val="000000"/>
                </a:solidFill>
              </a:rPr>
              <a:t>Draft: For Policy Development Purposes</a:t>
            </a:r>
          </a:p>
        </p:txBody>
      </p:sp>
      <p:sp>
        <p:nvSpPr>
          <p:cNvPr id="17" name="Footer Placeholder 3"/>
          <p:cNvSpPr txBox="1">
            <a:spLocks/>
          </p:cNvSpPr>
          <p:nvPr userDrawn="1"/>
        </p:nvSpPr>
        <p:spPr>
          <a:xfrm>
            <a:off x="7531344" y="6270478"/>
            <a:ext cx="821267" cy="151834"/>
          </a:xfrm>
          <a:prstGeom prst="rect">
            <a:avLst/>
          </a:prstGeom>
        </p:spPr>
        <p:txBody>
          <a:bodyPr lIns="91430" tIns="45716" rIns="91430" bIns="45716"/>
          <a:lstStyle>
            <a:defPPr>
              <a:defRPr lang="en-US"/>
            </a:defPPr>
            <a:lvl1pPr algn="ctr" rtl="0" fontAlgn="base">
              <a:spcBef>
                <a:spcPct val="0"/>
              </a:spcBef>
              <a:spcAft>
                <a:spcPct val="0"/>
              </a:spcAft>
              <a:defRPr sz="800"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US">
                <a:solidFill>
                  <a:srgbClr val="000000"/>
                </a:solidFill>
              </a:rPr>
              <a:t>Updated:</a:t>
            </a:r>
          </a:p>
        </p:txBody>
      </p:sp>
    </p:spTree>
    <p:extLst>
      <p:ext uri="{BB962C8B-B14F-4D97-AF65-F5344CB8AC3E}">
        <p14:creationId xmlns:p14="http://schemas.microsoft.com/office/powerpoint/2010/main" val="657168703"/>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Lst>
  <p:hf sldNum="0" hdr="0" ft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576" indent="-228576"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02" indent="-233339"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303"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1929" indent="-233339"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030" indent="-223814"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182" indent="-223814"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333" indent="-223814"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485" indent="-223814"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8637" indent="-223814"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51507891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4" imgW="6350000" imgH="6350000" progId="TCLayout.ActiveDocument.1">
                  <p:embed/>
                </p:oleObj>
              </mc:Choice>
              <mc:Fallback>
                <p:oleObj name="think-cell Slide" r:id="rId24" imgW="6350000" imgH="6350000" progId="TCLayout.ActiveDocument.1">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21502"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latin typeface="Aria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Unit of measure</a:t>
            </a:r>
          </a:p>
        </p:txBody>
      </p:sp>
      <p:grpSp>
        <p:nvGrpSpPr>
          <p:cNvPr id="6" name="McK Slide Elements" hidden="1"/>
          <p:cNvGrpSpPr/>
          <p:nvPr/>
        </p:nvGrpSpPr>
        <p:grpSpPr bwMode="auto">
          <a:xfrm>
            <a:off x="1393427" y="6159554"/>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827" indent="-478827" defTabSz="912362">
                <a:tabLst>
                  <a:tab pos="490153" algn="l"/>
                  <a:tab pos="677804" algn="l"/>
                </a:tabLst>
              </a:pPr>
              <a:r>
                <a:rPr lang="en-US" sz="1000">
                  <a:solidFill>
                    <a:srgbClr val="000000"/>
                  </a:solidFill>
                  <a:latin typeface="Aria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a:solidFill>
                    <a:srgbClr val="000000"/>
                  </a:solidFill>
                  <a:latin typeface="Arial"/>
                </a:rPr>
                <a:t>Title</a:t>
              </a:r>
            </a:p>
            <a:p>
              <a:r>
                <a:rPr lang="en-US" sz="1600">
                  <a:solidFill>
                    <a:srgbClr val="808080"/>
                  </a:solidFill>
                  <a:latin typeface="Arial"/>
                </a:rPr>
                <a:t>Unit of measure</a:t>
              </a:r>
            </a:p>
          </p:txBody>
        </p:sp>
      </p:grpSp>
      <p:sp>
        <p:nvSpPr>
          <p:cNvPr id="20" name="SlideLogoText"/>
          <p:cNvSpPr>
            <a:spLocks noChangeArrowheads="1"/>
          </p:cNvSpPr>
          <p:nvPr>
            <p:custDataLst>
              <p:tags r:id="rId6"/>
            </p:custDataLst>
          </p:nvPr>
        </p:nvSpPr>
        <p:spPr bwMode="auto">
          <a:xfrm>
            <a:off x="5524020" y="6651743"/>
            <a:ext cx="2978536"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362">
              <a:defRPr/>
            </a:pPr>
            <a:r>
              <a:rPr lang="en-US" sz="1000">
                <a:solidFill>
                  <a:srgbClr val="000000"/>
                </a:solidFill>
                <a:latin typeface="Arial"/>
                <a:cs typeface="Arial" charset="0"/>
              </a:rPr>
              <a:t>Confidential – for policy development purposes only</a:t>
            </a:r>
          </a:p>
        </p:txBody>
      </p:sp>
      <p:sp>
        <p:nvSpPr>
          <p:cNvPr id="21" name="SlideLogoSeparator"/>
          <p:cNvSpPr>
            <a:spLocks noChangeArrowheads="1"/>
          </p:cNvSpPr>
          <p:nvPr>
            <p:custDataLst>
              <p:tags r:id="rId7"/>
            </p:custDataLst>
          </p:nvPr>
        </p:nvSpPr>
        <p:spPr bwMode="auto">
          <a:xfrm>
            <a:off x="8608479" y="6623606"/>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2362"/>
            <a:r>
              <a:rPr lang="en-US" sz="1200">
                <a:solidFill>
                  <a:srgbClr val="000000"/>
                </a:solidFill>
                <a:latin typeface="Arial"/>
              </a:rPr>
              <a:t>|</a:t>
            </a:r>
          </a:p>
        </p:txBody>
      </p:sp>
      <p:grpSp>
        <p:nvGrpSpPr>
          <p:cNvPr id="25" name="LegendBoxes" hidden="1"/>
          <p:cNvGrpSpPr>
            <a:grpSpLocks/>
          </p:cNvGrpSpPr>
          <p:nvPr/>
        </p:nvGrpSpPr>
        <p:grpSpPr bwMode="auto">
          <a:xfrm>
            <a:off x="8136458" y="296420"/>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34" name="LegendLines" hidden="1"/>
          <p:cNvGrpSpPr>
            <a:grpSpLocks/>
          </p:cNvGrpSpPr>
          <p:nvPr/>
        </p:nvGrpSpPr>
        <p:grpSpPr bwMode="auto">
          <a:xfrm>
            <a:off x="7822222"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grpSp>
        <p:nvGrpSpPr>
          <p:cNvPr id="41" name="McKSticker" hidden="1"/>
          <p:cNvGrpSpPr/>
          <p:nvPr/>
        </p:nvGrpSpPr>
        <p:grpSpPr bwMode="auto">
          <a:xfrm>
            <a:off x="7826985"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a:buClr>
                  <a:srgbClr val="002960"/>
                </a:buClr>
              </a:pPr>
              <a:r>
                <a:rPr lang="en-US" sz="120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7" y="296408"/>
            <a:ext cx="847347" cy="1333054"/>
            <a:chOff x="6655594" y="273840"/>
            <a:chExt cx="830430" cy="1306516"/>
          </a:xfrm>
        </p:grpSpPr>
        <p:grpSp>
          <p:nvGrpSpPr>
            <p:cNvPr id="46" name="MoonLegend1"/>
            <p:cNvGrpSpPr>
              <a:grpSpLocks noChangeAspect="1"/>
            </p:cNvGrpSpPr>
            <p:nvPr>
              <p:custDataLst>
                <p:tags r:id="rId9"/>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5"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7" name="MoonLegend2"/>
            <p:cNvGrpSpPr>
              <a:grpSpLocks noChangeAspect="1"/>
            </p:cNvGrpSpPr>
            <p:nvPr>
              <p:custDataLst>
                <p:tags r:id="rId10"/>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8" name="MoonLegend4"/>
            <p:cNvGrpSpPr>
              <a:grpSpLocks noChangeAspect="1"/>
            </p:cNvGrpSpPr>
            <p:nvPr>
              <p:custDataLst>
                <p:tags r:id="rId11"/>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9"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9"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nvGrpSpPr>
            <p:cNvPr id="55" name="MoonLegend3"/>
            <p:cNvGrpSpPr>
              <a:grpSpLocks noChangeAspect="1"/>
            </p:cNvGrpSpPr>
            <p:nvPr>
              <p:custDataLst>
                <p:tags r:id="rId13"/>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7"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sp>
        <p:nvSpPr>
          <p:cNvPr id="67" name="SlideLogoText"/>
          <p:cNvSpPr>
            <a:spLocks noChangeArrowheads="1"/>
          </p:cNvSpPr>
          <p:nvPr userDrawn="1">
            <p:custDataLst>
              <p:tags r:id="rId8"/>
            </p:custDataLst>
          </p:nvPr>
        </p:nvSpPr>
        <p:spPr bwMode="auto">
          <a:xfrm>
            <a:off x="8808143" y="6651743"/>
            <a:ext cx="160294"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fld id="{1B845CE2-52C6-D640-906F-6FEE9CFEE2EC}" type="slidenum">
              <a:rPr lang="en-US" sz="1000" smtClean="0">
                <a:solidFill>
                  <a:srgbClr val="000000"/>
                </a:solidFill>
              </a:rPr>
              <a:pPr/>
              <a:t>‹#›</a:t>
            </a:fld>
            <a:endParaRPr lang="en-US" sz="1000">
              <a:solidFill>
                <a:srgbClr val="000000"/>
              </a:solidFill>
            </a:endParaRPr>
          </a:p>
        </p:txBody>
      </p:sp>
    </p:spTree>
    <p:extLst>
      <p:ext uri="{BB962C8B-B14F-4D97-AF65-F5344CB8AC3E}">
        <p14:creationId xmlns:p14="http://schemas.microsoft.com/office/powerpoint/2010/main" val="3090447320"/>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Lst>
  <p:hf sldNum="0" hdr="0" ftr="0" dt="0"/>
  <p:txStyles>
    <p:titleStyle>
      <a:lvl1pPr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51507891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4" imgW="6350000" imgH="6350000" progId="TCLayout.ActiveDocument.1">
                  <p:embed/>
                </p:oleObj>
              </mc:Choice>
              <mc:Fallback>
                <p:oleObj name="think-cell Slide" r:id="rId24" imgW="6350000" imgH="6350000" progId="TCLayout.ActiveDocument.1">
                  <p:embed/>
                  <p:pic>
                    <p:nvPicPr>
                      <p:cNvPr id="2" name="Object 1"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121502"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a:solidFill>
                  <a:srgbClr val="808080"/>
                </a:solidFill>
                <a:latin typeface="Aria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a:solidFill>
                  <a:srgbClr val="808080"/>
                </a:solidFill>
                <a:latin typeface="Arial"/>
              </a:rPr>
              <a:t>Unit of measure</a:t>
            </a:r>
          </a:p>
        </p:txBody>
      </p:sp>
      <p:grpSp>
        <p:nvGrpSpPr>
          <p:cNvPr id="6" name="McK Slide Elements" hidden="1"/>
          <p:cNvGrpSpPr/>
          <p:nvPr/>
        </p:nvGrpSpPr>
        <p:grpSpPr bwMode="auto">
          <a:xfrm>
            <a:off x="1393427" y="6159554"/>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827" indent="-478827" defTabSz="912362">
                <a:tabLst>
                  <a:tab pos="490153" algn="l"/>
                  <a:tab pos="677804" algn="l"/>
                </a:tabLst>
              </a:pPr>
              <a:r>
                <a:rPr lang="en-US" sz="1000">
                  <a:solidFill>
                    <a:srgbClr val="000000"/>
                  </a:solidFill>
                  <a:latin typeface="Aria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a:solidFill>
                    <a:srgbClr val="000000"/>
                  </a:solidFill>
                  <a:latin typeface="Arial"/>
                </a:rPr>
                <a:t>Title</a:t>
              </a:r>
            </a:p>
            <a:p>
              <a:r>
                <a:rPr lang="en-US" sz="1600">
                  <a:solidFill>
                    <a:srgbClr val="808080"/>
                  </a:solidFill>
                  <a:latin typeface="Arial"/>
                </a:rPr>
                <a:t>Unit of measure</a:t>
              </a:r>
            </a:p>
          </p:txBody>
        </p:sp>
      </p:grpSp>
      <p:sp>
        <p:nvSpPr>
          <p:cNvPr id="20" name="SlideLogoText"/>
          <p:cNvSpPr>
            <a:spLocks noChangeArrowheads="1"/>
          </p:cNvSpPr>
          <p:nvPr>
            <p:custDataLst>
              <p:tags r:id="rId6"/>
            </p:custDataLst>
          </p:nvPr>
        </p:nvSpPr>
        <p:spPr bwMode="auto">
          <a:xfrm>
            <a:off x="5524020" y="6651743"/>
            <a:ext cx="2978536"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362">
              <a:defRPr/>
            </a:pPr>
            <a:r>
              <a:rPr lang="en-US" sz="1000">
                <a:solidFill>
                  <a:srgbClr val="000000"/>
                </a:solidFill>
                <a:latin typeface="Arial"/>
                <a:cs typeface="Arial" charset="0"/>
              </a:rPr>
              <a:t>Confidential – for policy development purposes only</a:t>
            </a:r>
          </a:p>
        </p:txBody>
      </p:sp>
      <p:sp>
        <p:nvSpPr>
          <p:cNvPr id="21" name="SlideLogoSeparator"/>
          <p:cNvSpPr>
            <a:spLocks noChangeArrowheads="1"/>
          </p:cNvSpPr>
          <p:nvPr>
            <p:custDataLst>
              <p:tags r:id="rId7"/>
            </p:custDataLst>
          </p:nvPr>
        </p:nvSpPr>
        <p:spPr bwMode="auto">
          <a:xfrm>
            <a:off x="8608479" y="6623606"/>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2362"/>
            <a:r>
              <a:rPr lang="en-US" sz="1200">
                <a:solidFill>
                  <a:srgbClr val="000000"/>
                </a:solidFill>
                <a:latin typeface="Arial"/>
              </a:rPr>
              <a:t>|</a:t>
            </a:r>
          </a:p>
        </p:txBody>
      </p:sp>
      <p:grpSp>
        <p:nvGrpSpPr>
          <p:cNvPr id="25" name="LegendBoxes" hidden="1"/>
          <p:cNvGrpSpPr>
            <a:grpSpLocks/>
          </p:cNvGrpSpPr>
          <p:nvPr/>
        </p:nvGrpSpPr>
        <p:grpSpPr bwMode="auto">
          <a:xfrm>
            <a:off x="8136458" y="296420"/>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34" name="LegendLines" hidden="1"/>
          <p:cNvGrpSpPr>
            <a:grpSpLocks/>
          </p:cNvGrpSpPr>
          <p:nvPr/>
        </p:nvGrpSpPr>
        <p:grpSpPr bwMode="auto">
          <a:xfrm>
            <a:off x="7822222"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000000"/>
                </a:solidFill>
                <a:latin typeface="Aria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grpSp>
        <p:nvGrpSpPr>
          <p:cNvPr id="41" name="McKSticker" hidden="1"/>
          <p:cNvGrpSpPr/>
          <p:nvPr/>
        </p:nvGrpSpPr>
        <p:grpSpPr bwMode="auto">
          <a:xfrm>
            <a:off x="7826985"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a:buClr>
                  <a:srgbClr val="002960"/>
                </a:buClr>
              </a:pPr>
              <a:r>
                <a:rPr lang="en-US" sz="1200">
                  <a:solidFill>
                    <a:srgbClr val="808080"/>
                  </a:solidFill>
                  <a:latin typeface="Aria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7" y="296408"/>
            <a:ext cx="847347" cy="1333054"/>
            <a:chOff x="6655594" y="273840"/>
            <a:chExt cx="830430" cy="1306516"/>
          </a:xfrm>
        </p:grpSpPr>
        <p:grpSp>
          <p:nvGrpSpPr>
            <p:cNvPr id="46" name="MoonLegend1"/>
            <p:cNvGrpSpPr>
              <a:grpSpLocks noChangeAspect="1"/>
            </p:cNvGrpSpPr>
            <p:nvPr>
              <p:custDataLst>
                <p:tags r:id="rId9"/>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5"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7" name="MoonLegend2"/>
            <p:cNvGrpSpPr>
              <a:grpSpLocks noChangeAspect="1"/>
            </p:cNvGrpSpPr>
            <p:nvPr>
              <p:custDataLst>
                <p:tags r:id="rId10"/>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3"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8" name="MoonLegend4"/>
            <p:cNvGrpSpPr>
              <a:grpSpLocks noChangeAspect="1"/>
            </p:cNvGrpSpPr>
            <p:nvPr>
              <p:custDataLst>
                <p:tags r:id="rId11"/>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61"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nvGrpSpPr>
            <p:cNvPr id="49"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9"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a:buClr>
                  <a:srgbClr val="002960"/>
                </a:buClr>
              </a:pPr>
              <a:r>
                <a:rPr lang="en-US" sz="1200">
                  <a:solidFill>
                    <a:srgbClr val="000000"/>
                  </a:solidFill>
                  <a:latin typeface="Arial"/>
                </a:rPr>
                <a:t>Legend</a:t>
              </a:r>
            </a:p>
          </p:txBody>
        </p:sp>
        <p:grpSp>
          <p:nvGrpSpPr>
            <p:cNvPr id="55" name="MoonLegend3"/>
            <p:cNvGrpSpPr>
              <a:grpSpLocks noChangeAspect="1"/>
            </p:cNvGrpSpPr>
            <p:nvPr>
              <p:custDataLst>
                <p:tags r:id="rId13"/>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sp>
            <p:nvSpPr>
              <p:cNvPr id="57"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000000"/>
                  </a:solidFill>
                  <a:latin typeface="Arial"/>
                </a:endParaRPr>
              </a:p>
            </p:txBody>
          </p:sp>
        </p:grpSp>
      </p:grpSp>
      <p:sp>
        <p:nvSpPr>
          <p:cNvPr id="67" name="SlideLogoText"/>
          <p:cNvSpPr>
            <a:spLocks noChangeArrowheads="1"/>
          </p:cNvSpPr>
          <p:nvPr userDrawn="1">
            <p:custDataLst>
              <p:tags r:id="rId8"/>
            </p:custDataLst>
          </p:nvPr>
        </p:nvSpPr>
        <p:spPr bwMode="auto">
          <a:xfrm>
            <a:off x="8808143" y="6651743"/>
            <a:ext cx="160294"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fld id="{1B845CE2-52C6-D640-906F-6FEE9CFEE2EC}" type="slidenum">
              <a:rPr lang="en-US" sz="1000" smtClean="0">
                <a:solidFill>
                  <a:srgbClr val="000000"/>
                </a:solidFill>
              </a:rPr>
              <a:pPr/>
              <a:t>‹#›</a:t>
            </a:fld>
            <a:endParaRPr lang="en-US" sz="1000">
              <a:solidFill>
                <a:srgbClr val="000000"/>
              </a:solidFill>
            </a:endParaRPr>
          </a:p>
        </p:txBody>
      </p:sp>
    </p:spTree>
    <p:extLst>
      <p:ext uri="{BB962C8B-B14F-4D97-AF65-F5344CB8AC3E}">
        <p14:creationId xmlns:p14="http://schemas.microsoft.com/office/powerpoint/2010/main" val="347871968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Lst>
  <p:hf hdr="0" ftr="0"/>
  <p:txStyles>
    <p:titleStyle>
      <a:lvl1pPr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61.xml"/></Relationships>
</file>

<file path=ppt/slides/_rels/slide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6.xml"/></Relationships>
</file>

<file path=ppt/slides/_rels/slide1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116.xml"/><Relationship Id="rId4" Type="http://schemas.openxmlformats.org/officeDocument/2006/relationships/image" Target="../media/image35.jpe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76.xml"/></Relationships>
</file>

<file path=ppt/slides/_rels/slide1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76.xml"/></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69.xml"/></Relationships>
</file>

<file path=ppt/slides/_rels/slide2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3" Type="http://schemas.openxmlformats.org/officeDocument/2006/relationships/image" Target="../media/image44.jpeg"/><Relationship Id="rId7" Type="http://schemas.openxmlformats.org/officeDocument/2006/relationships/image" Target="../media/image48.jpeg"/><Relationship Id="rId2" Type="http://schemas.openxmlformats.org/officeDocument/2006/relationships/image" Target="../media/image43.png"/><Relationship Id="rId1" Type="http://schemas.openxmlformats.org/officeDocument/2006/relationships/slideLayout" Target="../slideLayouts/slideLayout76.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jpeg"/></Relationships>
</file>

<file path=ppt/slides/_rels/slide2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51.jpeg"/><Relationship Id="rId7" Type="http://schemas.openxmlformats.org/officeDocument/2006/relationships/image" Target="../media/image55.jpeg"/><Relationship Id="rId2" Type="http://schemas.openxmlformats.org/officeDocument/2006/relationships/image" Target="../media/image50.jpeg"/><Relationship Id="rId1" Type="http://schemas.openxmlformats.org/officeDocument/2006/relationships/slideLayout" Target="../slideLayouts/slideLayout3.xml"/><Relationship Id="rId6" Type="http://schemas.openxmlformats.org/officeDocument/2006/relationships/image" Target="../media/image54.jpeg"/><Relationship Id="rId5" Type="http://schemas.openxmlformats.org/officeDocument/2006/relationships/image" Target="../media/image53.png"/><Relationship Id="rId4" Type="http://schemas.openxmlformats.org/officeDocument/2006/relationships/image" Target="../media/image52.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7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70.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62.png"/><Relationship Id="rId2" Type="http://schemas.openxmlformats.org/officeDocument/2006/relationships/diagramData" Target="../diagrams/data5.xml"/><Relationship Id="rId1" Type="http://schemas.openxmlformats.org/officeDocument/2006/relationships/slideLayout" Target="../slideLayouts/slideLayout7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63.emf"/><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7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9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xml"/><Relationship Id="rId1" Type="http://schemas.openxmlformats.org/officeDocument/2006/relationships/slideLayout" Target="../slideLayouts/slideLayout7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C661D0D-9B30-4E51-966A-EF39BA6ED21A}"/>
              </a:ext>
            </a:extLst>
          </p:cNvPr>
          <p:cNvSpPr>
            <a:spLocks noGrp="1"/>
          </p:cNvSpPr>
          <p:nvPr>
            <p:ph type="ctrTitle"/>
          </p:nvPr>
        </p:nvSpPr>
        <p:spPr>
          <a:xfrm>
            <a:off x="995423" y="4741213"/>
            <a:ext cx="7500395" cy="1169551"/>
          </a:xfrm>
        </p:spPr>
        <p:txBody>
          <a:bodyPr/>
          <a:lstStyle/>
          <a:p>
            <a:r>
              <a:rPr lang="en-US" sz="2800" b="1" dirty="0">
                <a:solidFill>
                  <a:srgbClr val="27387E"/>
                </a:solidFill>
                <a:latin typeface="Bahnschrift"/>
              </a:rPr>
              <a:t>Supportive Technology – Technology First</a:t>
            </a:r>
            <a:br>
              <a:rPr lang="en-US" sz="3200" dirty="0">
                <a:latin typeface="Bahnschrift" panose="020B0502040204020203" pitchFamily="34" charset="0"/>
              </a:rPr>
            </a:br>
            <a:r>
              <a:rPr lang="en-US" sz="2400" dirty="0">
                <a:solidFill>
                  <a:srgbClr val="27387E"/>
                </a:solidFill>
                <a:latin typeface="Bahnschrift"/>
              </a:rPr>
              <a:t>Assistive Technology and </a:t>
            </a:r>
            <a:br>
              <a:rPr lang="en-US" sz="2400" dirty="0">
                <a:solidFill>
                  <a:srgbClr val="27387E"/>
                </a:solidFill>
                <a:latin typeface="Bahnschrift"/>
              </a:rPr>
            </a:br>
            <a:r>
              <a:rPr lang="en-US" sz="2400" dirty="0">
                <a:solidFill>
                  <a:srgbClr val="27387E"/>
                </a:solidFill>
                <a:latin typeface="Bahnschrift"/>
              </a:rPr>
              <a:t>Remote Supports &amp; Monitoring </a:t>
            </a:r>
          </a:p>
        </p:txBody>
      </p:sp>
      <p:sp>
        <p:nvSpPr>
          <p:cNvPr id="16" name="TextBox 15">
            <a:extLst>
              <a:ext uri="{FF2B5EF4-FFF2-40B4-BE49-F238E27FC236}">
                <a16:creationId xmlns:a16="http://schemas.microsoft.com/office/drawing/2014/main" id="{FBBBA088-4448-4AAA-80A7-048948D2F12C}"/>
              </a:ext>
            </a:extLst>
          </p:cNvPr>
          <p:cNvSpPr txBox="1"/>
          <p:nvPr/>
        </p:nvSpPr>
        <p:spPr>
          <a:xfrm>
            <a:off x="2120900" y="6246520"/>
            <a:ext cx="4902200" cy="275153"/>
          </a:xfrm>
          <a:prstGeom prst="rect">
            <a:avLst/>
          </a:prstGeom>
          <a:noFill/>
        </p:spPr>
        <p:txBody>
          <a:bodyPr wrap="square" lIns="89611" tIns="44806" rIns="89611" bIns="44806" rtlCol="0" anchor="t">
            <a:spAutoFit/>
          </a:bodyPr>
          <a:lstStyle/>
          <a:p>
            <a:pPr marL="1270" marR="0" lvl="0" indent="0" algn="ctr" defTabSz="914400" rtl="0" eaLnBrk="1" fontAlgn="base" latinLnBrk="0" hangingPunct="1">
              <a:lnSpc>
                <a:spcPct val="100000"/>
              </a:lnSpc>
              <a:spcBef>
                <a:spcPct val="0"/>
              </a:spcBef>
              <a:spcAft>
                <a:spcPct val="0"/>
              </a:spcAft>
              <a:buClrTx/>
              <a:buSzTx/>
              <a:buFontTx/>
              <a:buNone/>
              <a:tabLst/>
              <a:defRPr/>
            </a:pPr>
            <a:r>
              <a:rPr lang="en-US" sz="1200">
                <a:solidFill>
                  <a:srgbClr val="27387E"/>
                </a:solidFill>
                <a:latin typeface="Bahnschrift"/>
                <a:ea typeface="ＭＳ Ｐゴシック"/>
                <a:cs typeface="Calibri"/>
              </a:rPr>
              <a:t>2025</a:t>
            </a:r>
            <a:endParaRPr kumimoji="0" lang="en-US" sz="1800" b="0" i="0" u="none" strike="noStrike" kern="1200" cap="none" spc="0" normalizeH="0" baseline="0" noProof="0">
              <a:ln>
                <a:noFill/>
              </a:ln>
              <a:solidFill>
                <a:srgbClr val="000000"/>
              </a:solidFill>
              <a:effectLst/>
              <a:uLnTx/>
              <a:uFillTx/>
              <a:latin typeface="Arial" charset="0"/>
              <a:ea typeface="ＭＳ Ｐゴシック"/>
              <a:cs typeface="+mn-cs"/>
            </a:endParaRPr>
          </a:p>
        </p:txBody>
      </p:sp>
      <p:pic>
        <p:nvPicPr>
          <p:cNvPr id="4" name="Picture 3" descr="Department of Developmental Services logo.">
            <a:extLst>
              <a:ext uri="{FF2B5EF4-FFF2-40B4-BE49-F238E27FC236}">
                <a16:creationId xmlns:a16="http://schemas.microsoft.com/office/drawing/2014/main" id="{1011040E-2175-45F1-B9C9-C4BA845A32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1890" y="633754"/>
            <a:ext cx="4107459" cy="4107459"/>
          </a:xfrm>
          <a:prstGeom prst="rect">
            <a:avLst/>
          </a:prstGeom>
        </p:spPr>
      </p:pic>
      <p:sp>
        <p:nvSpPr>
          <p:cNvPr id="9" name="AutoShape 2" descr="Image result for commonwealth of massachusetts seal">
            <a:extLst>
              <a:ext uri="{FF2B5EF4-FFF2-40B4-BE49-F238E27FC236}">
                <a16:creationId xmlns:a16="http://schemas.microsoft.com/office/drawing/2014/main" id="{E89F6C5F-D09A-4AC8-BC05-8968C2359360}"/>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charset="0"/>
              <a:ea typeface="ＭＳ Ｐゴシック"/>
              <a:cs typeface="+mn-cs"/>
            </a:endParaRPr>
          </a:p>
        </p:txBody>
      </p:sp>
    </p:spTree>
    <p:extLst>
      <p:ext uri="{BB962C8B-B14F-4D97-AF65-F5344CB8AC3E}">
        <p14:creationId xmlns:p14="http://schemas.microsoft.com/office/powerpoint/2010/main" val="2908471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B153BAA-1FE1-68F7-EBF1-6035974FF3CC}"/>
              </a:ext>
            </a:extLst>
          </p:cNvPr>
          <p:cNvSpPr>
            <a:spLocks noGrp="1"/>
          </p:cNvSpPr>
          <p:nvPr>
            <p:ph type="title" idx="4294967295"/>
          </p:nvPr>
        </p:nvSpPr>
        <p:spPr>
          <a:xfrm>
            <a:off x="628650" y="-1325563"/>
            <a:ext cx="7886700" cy="1325563"/>
          </a:xfrm>
          <a:prstGeom prst="rect">
            <a:avLst/>
          </a:prstGeom>
        </p:spPr>
        <p:txBody>
          <a:bodyPr anchor="b"/>
          <a:lstStyle/>
          <a:p>
            <a:r>
              <a:rPr lang="en-US" dirty="0"/>
              <a:t>Why Assistive Technology?</a:t>
            </a:r>
          </a:p>
        </p:txBody>
      </p:sp>
      <p:sp>
        <p:nvSpPr>
          <p:cNvPr id="2" name="Slide Number Placeholder 1">
            <a:extLst>
              <a:ext uri="{FF2B5EF4-FFF2-40B4-BE49-F238E27FC236}">
                <a16:creationId xmlns:a16="http://schemas.microsoft.com/office/drawing/2014/main" id="{9CC43025-DB44-4661-88DF-4573DD92F75E}"/>
              </a:ext>
            </a:extLst>
          </p:cNvPr>
          <p:cNvSpPr>
            <a:spLocks noGrp="1"/>
          </p:cNvSpPr>
          <p:nvPr>
            <p:ph type="sldNum" sz="quarter" idx="12"/>
          </p:nvPr>
        </p:nvSpPr>
        <p:spPr/>
        <p:txBody>
          <a:bodyPr/>
          <a:lstStyle/>
          <a:p>
            <a:pPr>
              <a:defRPr/>
            </a:pPr>
            <a:fld id="{90A9E658-6C7B-4546-9FE3-35CF73600A22}" type="slidenum">
              <a:rPr lang="en-US" altLang="en-US" smtClean="0"/>
              <a:pPr>
                <a:defRPr/>
              </a:pPr>
              <a:t>10</a:t>
            </a:fld>
            <a:endParaRPr lang="en-US" altLang="en-US"/>
          </a:p>
        </p:txBody>
      </p:sp>
      <p:pic>
        <p:nvPicPr>
          <p:cNvPr id="3" name="Picture 2" descr="Slide titled 'Why Assistive Technology?' with the AMAC logo. Text reads: 'For a person without a disability, technology makes things easier... For a person with a disability, technology makes things possible.' Below is a tip: 'TIP: USE AT. I have yet to meet a successful student with disabilities who doesn't use any AT.' A black-and-white photo shows a smiling man with a disability using assistive technology at a computer workstation.">
            <a:extLst>
              <a:ext uri="{FF2B5EF4-FFF2-40B4-BE49-F238E27FC236}">
                <a16:creationId xmlns:a16="http://schemas.microsoft.com/office/drawing/2014/main" id="{65DB22E3-E0EA-42F5-85E8-F0FC9D405EF3}"/>
              </a:ext>
            </a:extLst>
          </p:cNvPr>
          <p:cNvPicPr/>
          <p:nvPr/>
        </p:nvPicPr>
        <p:blipFill>
          <a:blip r:embed="rId2">
            <a:extLst>
              <a:ext uri="{28A0092B-C50C-407E-A947-70E740481C1C}">
                <a14:useLocalDpi xmlns:a14="http://schemas.microsoft.com/office/drawing/2010/main" val="0"/>
              </a:ext>
            </a:extLst>
          </a:blip>
          <a:stretch>
            <a:fillRect/>
          </a:stretch>
        </p:blipFill>
        <p:spPr bwMode="auto">
          <a:xfrm>
            <a:off x="512064" y="932688"/>
            <a:ext cx="7836408" cy="4809744"/>
          </a:xfrm>
          <a:prstGeom prst="rect">
            <a:avLst/>
          </a:prstGeom>
          <a:noFill/>
        </p:spPr>
      </p:pic>
    </p:spTree>
    <p:extLst>
      <p:ext uri="{BB962C8B-B14F-4D97-AF65-F5344CB8AC3E}">
        <p14:creationId xmlns:p14="http://schemas.microsoft.com/office/powerpoint/2010/main" val="19064524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A8DB9CD9-59B1-4D73-BC4C-98796A48EF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9143771"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874A6A9-41FF-4E33-AFA8-F9F81436A5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28" y="0"/>
            <a:ext cx="9143772" cy="6858000"/>
          </a:xfrm>
          <a:prstGeom prst="rect">
            <a:avLst/>
          </a:prstGeom>
          <a:gradFill flip="none" rotWithShape="1">
            <a:gsLst>
              <a:gs pos="16000">
                <a:schemeClr val="accent6">
                  <a:alpha val="20000"/>
                </a:schemeClr>
              </a:gs>
              <a:gs pos="85000">
                <a:schemeClr val="accent1">
                  <a:alpha val="40000"/>
                </a:schemeClr>
              </a:gs>
            </a:gsLst>
            <a:lin ang="12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721D730E-1F97-4071-B143-B05E6D2599B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77551" y="3985"/>
            <a:ext cx="7329573" cy="6858000"/>
            <a:chOff x="1303402" y="3985"/>
            <a:chExt cx="9772765" cy="6858000"/>
          </a:xfrm>
        </p:grpSpPr>
        <p:sp>
          <p:nvSpPr>
            <p:cNvPr id="13" name="Freeform: Shape 12">
              <a:extLst>
                <a:ext uri="{FF2B5EF4-FFF2-40B4-BE49-F238E27FC236}">
                  <a16:creationId xmlns:a16="http://schemas.microsoft.com/office/drawing/2014/main" id="{B3849C6A-9EE5-4604-8EAE-DD4796B79D8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560551" y="3985"/>
              <a:ext cx="9313016" cy="6858000"/>
            </a:xfrm>
            <a:custGeom>
              <a:avLst/>
              <a:gdLst>
                <a:gd name="connsiteX0" fmla="*/ 6993556 w 9313016"/>
                <a:gd name="connsiteY0" fmla="*/ 0 h 6858000"/>
                <a:gd name="connsiteX1" fmla="*/ 7358516 w 9313016"/>
                <a:gd name="connsiteY1" fmla="*/ 0 h 6858000"/>
                <a:gd name="connsiteX2" fmla="*/ 7475006 w 9313016"/>
                <a:gd name="connsiteY2" fmla="*/ 82722 h 6858000"/>
                <a:gd name="connsiteX3" fmla="*/ 7816357 w 9313016"/>
                <a:gd name="connsiteY3" fmla="*/ 358482 h 6858000"/>
                <a:gd name="connsiteX4" fmla="*/ 8421752 w 9313016"/>
                <a:gd name="connsiteY4" fmla="*/ 995405 h 6858000"/>
                <a:gd name="connsiteX5" fmla="*/ 8897059 w 9313016"/>
                <a:gd name="connsiteY5" fmla="*/ 1737211 h 6858000"/>
                <a:gd name="connsiteX6" fmla="*/ 9206633 w 9313016"/>
                <a:gd name="connsiteY6" fmla="*/ 2564460 h 6858000"/>
                <a:gd name="connsiteX7" fmla="*/ 9286787 w 9313016"/>
                <a:gd name="connsiteY7" fmla="*/ 3000164 h 6858000"/>
                <a:gd name="connsiteX8" fmla="*/ 9312914 w 9313016"/>
                <a:gd name="connsiteY8" fmla="*/ 3442493 h 6858000"/>
                <a:gd name="connsiteX9" fmla="*/ 9190562 w 9313016"/>
                <a:gd name="connsiteY9" fmla="*/ 4316686 h 6858000"/>
                <a:gd name="connsiteX10" fmla="*/ 9043416 w 9313016"/>
                <a:gd name="connsiteY10" fmla="*/ 4734917 h 6858000"/>
                <a:gd name="connsiteX11" fmla="*/ 8809657 w 9313016"/>
                <a:gd name="connsiteY11" fmla="*/ 5128718 h 6858000"/>
                <a:gd name="connsiteX12" fmla="*/ 8645997 w 9313016"/>
                <a:gd name="connsiteY12" fmla="*/ 5297441 h 6858000"/>
                <a:gd name="connsiteX13" fmla="*/ 8457787 w 9313016"/>
                <a:gd name="connsiteY13" fmla="*/ 5433763 h 6858000"/>
                <a:gd name="connsiteX14" fmla="*/ 8260803 w 9313016"/>
                <a:gd name="connsiteY14" fmla="*/ 5541237 h 6858000"/>
                <a:gd name="connsiteX15" fmla="*/ 8066136 w 9313016"/>
                <a:gd name="connsiteY15" fmla="*/ 5635704 h 6858000"/>
                <a:gd name="connsiteX16" fmla="*/ 7698638 w 9313016"/>
                <a:gd name="connsiteY16" fmla="*/ 5837163 h 6858000"/>
                <a:gd name="connsiteX17" fmla="*/ 7370135 w 9313016"/>
                <a:gd name="connsiteY17" fmla="*/ 6090081 h 6858000"/>
                <a:gd name="connsiteX18" fmla="*/ 7218897 w 9313016"/>
                <a:gd name="connsiteY18" fmla="*/ 6235860 h 6858000"/>
                <a:gd name="connsiteX19" fmla="*/ 7070665 w 9313016"/>
                <a:gd name="connsiteY19" fmla="*/ 6387205 h 6858000"/>
                <a:gd name="connsiteX20" fmla="*/ 6779035 w 9313016"/>
                <a:gd name="connsiteY20" fmla="*/ 6697100 h 6858000"/>
                <a:gd name="connsiteX21" fmla="*/ 6631837 w 9313016"/>
                <a:gd name="connsiteY21" fmla="*/ 6852239 h 6858000"/>
                <a:gd name="connsiteX22" fmla="*/ 6626221 w 9313016"/>
                <a:gd name="connsiteY22" fmla="*/ 6858000 h 6858000"/>
                <a:gd name="connsiteX23" fmla="*/ 6424725 w 9313016"/>
                <a:gd name="connsiteY23" fmla="*/ 6858000 h 6858000"/>
                <a:gd name="connsiteX24" fmla="*/ 6527382 w 9313016"/>
                <a:gd name="connsiteY24" fmla="*/ 6756333 h 6858000"/>
                <a:gd name="connsiteX25" fmla="*/ 6674233 w 9313016"/>
                <a:gd name="connsiteY25" fmla="*/ 6603450 h 6858000"/>
                <a:gd name="connsiteX26" fmla="*/ 6965813 w 9313016"/>
                <a:gd name="connsiteY26" fmla="*/ 6292932 h 6858000"/>
                <a:gd name="connsiteX27" fmla="*/ 7112961 w 9313016"/>
                <a:gd name="connsiteY27" fmla="*/ 6137505 h 6858000"/>
                <a:gd name="connsiteX28" fmla="*/ 7264790 w 9313016"/>
                <a:gd name="connsiteY28" fmla="*/ 5983710 h 6858000"/>
                <a:gd name="connsiteX29" fmla="*/ 7974595 w 9313016"/>
                <a:gd name="connsiteY29" fmla="*/ 5470773 h 6858000"/>
                <a:gd name="connsiteX30" fmla="*/ 8331591 w 9313016"/>
                <a:gd name="connsiteY30" fmla="*/ 5254048 h 6858000"/>
                <a:gd name="connsiteX31" fmla="*/ 8599807 w 9313016"/>
                <a:gd name="connsiteY31" fmla="*/ 4980010 h 6858000"/>
                <a:gd name="connsiteX32" fmla="*/ 8766474 w 9313016"/>
                <a:gd name="connsiteY32" fmla="*/ 4631524 h 6858000"/>
                <a:gd name="connsiteX33" fmla="*/ 8865755 w 9313016"/>
                <a:gd name="connsiteY33" fmla="*/ 4244445 h 6858000"/>
                <a:gd name="connsiteX34" fmla="*/ 8882911 w 9313016"/>
                <a:gd name="connsiteY34" fmla="*/ 4145659 h 6858000"/>
                <a:gd name="connsiteX35" fmla="*/ 8897403 w 9313016"/>
                <a:gd name="connsiteY35" fmla="*/ 4046633 h 6858000"/>
                <a:gd name="connsiteX36" fmla="*/ 8908298 w 9313016"/>
                <a:gd name="connsiteY36" fmla="*/ 3947271 h 6858000"/>
                <a:gd name="connsiteX37" fmla="*/ 8916184 w 9313016"/>
                <a:gd name="connsiteY37" fmla="*/ 3847765 h 6858000"/>
                <a:gd name="connsiteX38" fmla="*/ 8920670 w 9313016"/>
                <a:gd name="connsiteY38" fmla="*/ 3449597 h 6858000"/>
                <a:gd name="connsiteX39" fmla="*/ 8914607 w 9313016"/>
                <a:gd name="connsiteY39" fmla="*/ 3350283 h 6858000"/>
                <a:gd name="connsiteX40" fmla="*/ 8905340 w 9313016"/>
                <a:gd name="connsiteY40" fmla="*/ 3251209 h 6858000"/>
                <a:gd name="connsiteX41" fmla="*/ 8893854 w 9313016"/>
                <a:gd name="connsiteY41" fmla="*/ 3152376 h 6858000"/>
                <a:gd name="connsiteX42" fmla="*/ 8879706 w 9313016"/>
                <a:gd name="connsiteY42" fmla="*/ 3053878 h 6858000"/>
                <a:gd name="connsiteX43" fmla="*/ 8797531 w 9313016"/>
                <a:gd name="connsiteY43" fmla="*/ 2663966 h 6858000"/>
                <a:gd name="connsiteX44" fmla="*/ 8520442 w 9313016"/>
                <a:gd name="connsiteY44" fmla="*/ 1911983 h 6858000"/>
                <a:gd name="connsiteX45" fmla="*/ 8332626 w 9313016"/>
                <a:gd name="connsiteY45" fmla="*/ 1553608 h 6858000"/>
                <a:gd name="connsiteX46" fmla="*/ 8116317 w 9313016"/>
                <a:gd name="connsiteY46" fmla="*/ 1208529 h 6858000"/>
                <a:gd name="connsiteX47" fmla="*/ 7873293 w 9313016"/>
                <a:gd name="connsiteY47" fmla="*/ 878284 h 6858000"/>
                <a:gd name="connsiteX48" fmla="*/ 7604337 w 9313016"/>
                <a:gd name="connsiteY48" fmla="*/ 565125 h 6858000"/>
                <a:gd name="connsiteX49" fmla="*/ 7311128 w 9313016"/>
                <a:gd name="connsiteY49" fmla="*/ 270591 h 6858000"/>
                <a:gd name="connsiteX50" fmla="*/ 1752019 w 9313016"/>
                <a:gd name="connsiteY50" fmla="*/ 0 h 6858000"/>
                <a:gd name="connsiteX51" fmla="*/ 2155804 w 9313016"/>
                <a:gd name="connsiteY51" fmla="*/ 0 h 6858000"/>
                <a:gd name="connsiteX52" fmla="*/ 2103975 w 9313016"/>
                <a:gd name="connsiteY52" fmla="*/ 40789 h 6858000"/>
                <a:gd name="connsiteX53" fmla="*/ 1656310 w 9313016"/>
                <a:gd name="connsiteY53" fmla="*/ 470035 h 6858000"/>
                <a:gd name="connsiteX54" fmla="*/ 806013 w 9313016"/>
                <a:gd name="connsiteY54" fmla="*/ 1841133 h 6858000"/>
                <a:gd name="connsiteX55" fmla="*/ 580685 w 9313016"/>
                <a:gd name="connsiteY55" fmla="*/ 2606364 h 6858000"/>
                <a:gd name="connsiteX56" fmla="*/ 503489 w 9313016"/>
                <a:gd name="connsiteY56" fmla="*/ 3397276 h 6858000"/>
                <a:gd name="connsiteX57" fmla="*/ 570135 w 9313016"/>
                <a:gd name="connsiteY57" fmla="*/ 4188235 h 6858000"/>
                <a:gd name="connsiteX58" fmla="*/ 783387 w 9313016"/>
                <a:gd name="connsiteY58" fmla="*/ 4953850 h 6858000"/>
                <a:gd name="connsiteX59" fmla="*/ 1628014 w 9313016"/>
                <a:gd name="connsiteY59" fmla="*/ 6308245 h 6858000"/>
                <a:gd name="connsiteX60" fmla="*/ 2235998 w 9313016"/>
                <a:gd name="connsiteY60" fmla="*/ 6844829 h 6858000"/>
                <a:gd name="connsiteX61" fmla="*/ 2255028 w 9313016"/>
                <a:gd name="connsiteY61" fmla="*/ 6858000 h 6858000"/>
                <a:gd name="connsiteX62" fmla="*/ 1578787 w 9313016"/>
                <a:gd name="connsiteY62" fmla="*/ 6858000 h 6858000"/>
                <a:gd name="connsiteX63" fmla="*/ 1465153 w 9313016"/>
                <a:gd name="connsiteY63" fmla="*/ 6759050 h 6858000"/>
                <a:gd name="connsiteX64" fmla="*/ 1303650 w 9313016"/>
                <a:gd name="connsiteY64" fmla="*/ 6604267 h 6858000"/>
                <a:gd name="connsiteX65" fmla="*/ 323708 w 9313016"/>
                <a:gd name="connsiteY65" fmla="*/ 5126365 h 6858000"/>
                <a:gd name="connsiteX66" fmla="*/ 872 w 9313016"/>
                <a:gd name="connsiteY66" fmla="*/ 3391228 h 6858000"/>
                <a:gd name="connsiteX67" fmla="*/ 105428 w 9313016"/>
                <a:gd name="connsiteY67" fmla="*/ 2511899 h 6858000"/>
                <a:gd name="connsiteX68" fmla="*/ 384933 w 9313016"/>
                <a:gd name="connsiteY68" fmla="*/ 1670971 h 6858000"/>
                <a:gd name="connsiteX69" fmla="*/ 1433593 w 9313016"/>
                <a:gd name="connsiteY69" fmla="*/ 256095 h 6858000"/>
                <a:gd name="connsiteX70" fmla="*/ 1602664 w 9313016"/>
                <a:gd name="connsiteY70" fmla="*/ 1137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9313016" h="6858000">
                  <a:moveTo>
                    <a:pt x="6993556" y="0"/>
                  </a:moveTo>
                  <a:lnTo>
                    <a:pt x="7358516" y="0"/>
                  </a:lnTo>
                  <a:lnTo>
                    <a:pt x="7475006" y="82722"/>
                  </a:lnTo>
                  <a:cubicBezTo>
                    <a:pt x="7592423" y="169778"/>
                    <a:pt x="7706366" y="261748"/>
                    <a:pt x="7816357" y="358482"/>
                  </a:cubicBezTo>
                  <a:cubicBezTo>
                    <a:pt x="8036559" y="551589"/>
                    <a:pt x="8239655" y="764905"/>
                    <a:pt x="8421752" y="995405"/>
                  </a:cubicBezTo>
                  <a:cubicBezTo>
                    <a:pt x="8604736" y="1225282"/>
                    <a:pt x="8763567" y="1474646"/>
                    <a:pt x="8897059" y="1737211"/>
                  </a:cubicBezTo>
                  <a:cubicBezTo>
                    <a:pt x="9029909" y="2000162"/>
                    <a:pt x="9134317" y="2277990"/>
                    <a:pt x="9206633" y="2564460"/>
                  </a:cubicBezTo>
                  <a:cubicBezTo>
                    <a:pt x="9242322" y="2707791"/>
                    <a:pt x="9269041" y="2853474"/>
                    <a:pt x="9286787" y="3000164"/>
                  </a:cubicBezTo>
                  <a:cubicBezTo>
                    <a:pt x="9304977" y="3146856"/>
                    <a:pt x="9314097" y="3294698"/>
                    <a:pt x="9312914" y="3442493"/>
                  </a:cubicBezTo>
                  <a:cubicBezTo>
                    <a:pt x="9309906" y="3737987"/>
                    <a:pt x="9270717" y="4033288"/>
                    <a:pt x="9190562" y="4316686"/>
                  </a:cubicBezTo>
                  <a:cubicBezTo>
                    <a:pt x="9150486" y="4458240"/>
                    <a:pt x="9103951" y="4597587"/>
                    <a:pt x="9043416" y="4734917"/>
                  </a:cubicBezTo>
                  <a:cubicBezTo>
                    <a:pt x="8982980" y="4871817"/>
                    <a:pt x="8908740" y="5007131"/>
                    <a:pt x="8809657" y="5128718"/>
                  </a:cubicBezTo>
                  <a:cubicBezTo>
                    <a:pt x="8760312" y="5189247"/>
                    <a:pt x="8706137" y="5246945"/>
                    <a:pt x="8645997" y="5297441"/>
                  </a:cubicBezTo>
                  <a:cubicBezTo>
                    <a:pt x="8586252" y="5348274"/>
                    <a:pt x="8522809" y="5393730"/>
                    <a:pt x="8457787" y="5433763"/>
                  </a:cubicBezTo>
                  <a:cubicBezTo>
                    <a:pt x="8392816" y="5474132"/>
                    <a:pt x="8326219" y="5508213"/>
                    <a:pt x="8260803" y="5541237"/>
                  </a:cubicBezTo>
                  <a:cubicBezTo>
                    <a:pt x="8195289" y="5574071"/>
                    <a:pt x="8130023" y="5604838"/>
                    <a:pt x="8066136" y="5635704"/>
                  </a:cubicBezTo>
                  <a:cubicBezTo>
                    <a:pt x="7938313" y="5697433"/>
                    <a:pt x="7815222" y="5762186"/>
                    <a:pt x="7698638" y="5837163"/>
                  </a:cubicBezTo>
                  <a:cubicBezTo>
                    <a:pt x="7582449" y="5912381"/>
                    <a:pt x="7471881" y="5996094"/>
                    <a:pt x="7370135" y="6090081"/>
                  </a:cubicBezTo>
                  <a:cubicBezTo>
                    <a:pt x="7319460" y="6136593"/>
                    <a:pt x="7268881" y="6186082"/>
                    <a:pt x="7218897" y="6235860"/>
                  </a:cubicBezTo>
                  <a:cubicBezTo>
                    <a:pt x="7168763" y="6285493"/>
                    <a:pt x="7119665" y="6336229"/>
                    <a:pt x="7070665" y="6387205"/>
                  </a:cubicBezTo>
                  <a:cubicBezTo>
                    <a:pt x="6972715" y="6489208"/>
                    <a:pt x="6876195" y="6593131"/>
                    <a:pt x="6779035" y="6697100"/>
                  </a:cubicBezTo>
                  <a:cubicBezTo>
                    <a:pt x="6730379" y="6748989"/>
                    <a:pt x="6681528" y="6800878"/>
                    <a:pt x="6631837" y="6852239"/>
                  </a:cubicBezTo>
                  <a:lnTo>
                    <a:pt x="6626221" y="6858000"/>
                  </a:lnTo>
                  <a:lnTo>
                    <a:pt x="6424725" y="6858000"/>
                  </a:lnTo>
                  <a:lnTo>
                    <a:pt x="6527382" y="6756333"/>
                  </a:lnTo>
                  <a:cubicBezTo>
                    <a:pt x="6576726" y="6705932"/>
                    <a:pt x="6625480" y="6654811"/>
                    <a:pt x="6674233" y="6603450"/>
                  </a:cubicBezTo>
                  <a:cubicBezTo>
                    <a:pt x="6771788" y="6500920"/>
                    <a:pt x="6868309" y="6396757"/>
                    <a:pt x="6965813" y="6292932"/>
                  </a:cubicBezTo>
                  <a:lnTo>
                    <a:pt x="7112961" y="6137505"/>
                  </a:lnTo>
                  <a:cubicBezTo>
                    <a:pt x="7162354" y="6085808"/>
                    <a:pt x="7211945" y="6034640"/>
                    <a:pt x="7264790" y="5983710"/>
                  </a:cubicBezTo>
                  <a:cubicBezTo>
                    <a:pt x="7472373" y="5779130"/>
                    <a:pt x="7721610" y="5610648"/>
                    <a:pt x="7974595" y="5470773"/>
                  </a:cubicBezTo>
                  <a:cubicBezTo>
                    <a:pt x="8099903" y="5399395"/>
                    <a:pt x="8224127" y="5332529"/>
                    <a:pt x="8331591" y="5254048"/>
                  </a:cubicBezTo>
                  <a:cubicBezTo>
                    <a:pt x="8439351" y="5176047"/>
                    <a:pt x="8529660" y="5085949"/>
                    <a:pt x="8599807" y="4980010"/>
                  </a:cubicBezTo>
                  <a:cubicBezTo>
                    <a:pt x="8671187" y="4875128"/>
                    <a:pt x="8723982" y="4756086"/>
                    <a:pt x="8766474" y="4631524"/>
                  </a:cubicBezTo>
                  <a:cubicBezTo>
                    <a:pt x="8808968" y="4507010"/>
                    <a:pt x="8840615" y="4375872"/>
                    <a:pt x="8865755" y="4244445"/>
                  </a:cubicBezTo>
                  <a:cubicBezTo>
                    <a:pt x="8871375" y="4211468"/>
                    <a:pt x="8878129" y="4178731"/>
                    <a:pt x="8882911" y="4145659"/>
                  </a:cubicBezTo>
                  <a:lnTo>
                    <a:pt x="8897403" y="4046633"/>
                  </a:lnTo>
                  <a:lnTo>
                    <a:pt x="8908298" y="3947271"/>
                  </a:lnTo>
                  <a:cubicBezTo>
                    <a:pt x="8912389" y="3914247"/>
                    <a:pt x="8913425" y="3880886"/>
                    <a:pt x="8916184" y="3847765"/>
                  </a:cubicBezTo>
                  <a:cubicBezTo>
                    <a:pt x="8925797" y="3715091"/>
                    <a:pt x="8925945" y="3582127"/>
                    <a:pt x="8920670" y="3449597"/>
                  </a:cubicBezTo>
                  <a:lnTo>
                    <a:pt x="8914607" y="3350283"/>
                  </a:lnTo>
                  <a:cubicBezTo>
                    <a:pt x="8911995" y="3317211"/>
                    <a:pt x="8908348" y="3284233"/>
                    <a:pt x="8905340" y="3251209"/>
                  </a:cubicBezTo>
                  <a:cubicBezTo>
                    <a:pt x="8902628" y="3218185"/>
                    <a:pt x="8897551" y="3185305"/>
                    <a:pt x="8893854" y="3152376"/>
                  </a:cubicBezTo>
                  <a:cubicBezTo>
                    <a:pt x="8890305" y="3119399"/>
                    <a:pt x="8884932" y="3086662"/>
                    <a:pt x="8879706" y="3053878"/>
                  </a:cubicBezTo>
                  <a:cubicBezTo>
                    <a:pt x="8858707" y="2922835"/>
                    <a:pt x="8831249" y="2792705"/>
                    <a:pt x="8797531" y="2663966"/>
                  </a:cubicBezTo>
                  <a:cubicBezTo>
                    <a:pt x="8728616" y="2406777"/>
                    <a:pt x="8635497" y="2155109"/>
                    <a:pt x="8520442" y="1911983"/>
                  </a:cubicBezTo>
                  <a:cubicBezTo>
                    <a:pt x="8462667" y="1790541"/>
                    <a:pt x="8400112" y="1670923"/>
                    <a:pt x="8332626" y="1553608"/>
                  </a:cubicBezTo>
                  <a:cubicBezTo>
                    <a:pt x="8265683" y="1436006"/>
                    <a:pt x="8192973" y="1321188"/>
                    <a:pt x="8116317" y="1208529"/>
                  </a:cubicBezTo>
                  <a:cubicBezTo>
                    <a:pt x="8039811" y="1095776"/>
                    <a:pt x="7958079" y="986094"/>
                    <a:pt x="7873293" y="878284"/>
                  </a:cubicBezTo>
                  <a:cubicBezTo>
                    <a:pt x="7787814" y="771002"/>
                    <a:pt x="7697999" y="666551"/>
                    <a:pt x="7604337" y="565125"/>
                  </a:cubicBezTo>
                  <a:cubicBezTo>
                    <a:pt x="7510479" y="463891"/>
                    <a:pt x="7413367" y="364818"/>
                    <a:pt x="7311128" y="270591"/>
                  </a:cubicBezTo>
                  <a:close/>
                  <a:moveTo>
                    <a:pt x="1752019" y="0"/>
                  </a:moveTo>
                  <a:lnTo>
                    <a:pt x="2155804" y="0"/>
                  </a:lnTo>
                  <a:lnTo>
                    <a:pt x="2103975" y="40789"/>
                  </a:lnTo>
                  <a:cubicBezTo>
                    <a:pt x="1943592" y="173585"/>
                    <a:pt x="1793955" y="317500"/>
                    <a:pt x="1656310" y="470035"/>
                  </a:cubicBezTo>
                  <a:cubicBezTo>
                    <a:pt x="1288172" y="876939"/>
                    <a:pt x="1002998" y="1344708"/>
                    <a:pt x="806013" y="1841133"/>
                  </a:cubicBezTo>
                  <a:cubicBezTo>
                    <a:pt x="707818" y="2089538"/>
                    <a:pt x="630868" y="2345480"/>
                    <a:pt x="580685" y="2606364"/>
                  </a:cubicBezTo>
                  <a:cubicBezTo>
                    <a:pt x="530749" y="2867250"/>
                    <a:pt x="504868" y="3132119"/>
                    <a:pt x="503489" y="3397276"/>
                  </a:cubicBezTo>
                  <a:cubicBezTo>
                    <a:pt x="501467" y="3662434"/>
                    <a:pt x="524093" y="3927351"/>
                    <a:pt x="570135" y="4188235"/>
                  </a:cubicBezTo>
                  <a:cubicBezTo>
                    <a:pt x="615734" y="4449264"/>
                    <a:pt x="688642" y="4705493"/>
                    <a:pt x="783387" y="4953850"/>
                  </a:cubicBezTo>
                  <a:cubicBezTo>
                    <a:pt x="974357" y="5449796"/>
                    <a:pt x="1259630" y="5913773"/>
                    <a:pt x="1628014" y="6308245"/>
                  </a:cubicBezTo>
                  <a:cubicBezTo>
                    <a:pt x="1812182" y="6505481"/>
                    <a:pt x="2016215" y="6685052"/>
                    <a:pt x="2235998" y="6844829"/>
                  </a:cubicBezTo>
                  <a:lnTo>
                    <a:pt x="2255028" y="6858000"/>
                  </a:lnTo>
                  <a:lnTo>
                    <a:pt x="1578787" y="6858000"/>
                  </a:lnTo>
                  <a:lnTo>
                    <a:pt x="1465153" y="6759050"/>
                  </a:lnTo>
                  <a:cubicBezTo>
                    <a:pt x="1410086" y="6708726"/>
                    <a:pt x="1356236" y="6657104"/>
                    <a:pt x="1303650" y="6604267"/>
                  </a:cubicBezTo>
                  <a:cubicBezTo>
                    <a:pt x="883506" y="6181043"/>
                    <a:pt x="548150" y="5676072"/>
                    <a:pt x="323708" y="5126365"/>
                  </a:cubicBezTo>
                  <a:cubicBezTo>
                    <a:pt x="97737" y="4577139"/>
                    <a:pt x="-10958" y="3981927"/>
                    <a:pt x="872" y="3391228"/>
                  </a:cubicBezTo>
                  <a:cubicBezTo>
                    <a:pt x="5951" y="3095783"/>
                    <a:pt x="40506" y="2800528"/>
                    <a:pt x="105428" y="2511899"/>
                  </a:cubicBezTo>
                  <a:cubicBezTo>
                    <a:pt x="170104" y="2223317"/>
                    <a:pt x="262089" y="1940399"/>
                    <a:pt x="384933" y="1670971"/>
                  </a:cubicBezTo>
                  <a:cubicBezTo>
                    <a:pt x="629092" y="1131344"/>
                    <a:pt x="991955" y="646919"/>
                    <a:pt x="1433593" y="256095"/>
                  </a:cubicBezTo>
                  <a:cubicBezTo>
                    <a:pt x="1488791" y="207206"/>
                    <a:pt x="1545179" y="159733"/>
                    <a:pt x="1602664" y="113704"/>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reeform: Shape 13">
              <a:extLst>
                <a:ext uri="{FF2B5EF4-FFF2-40B4-BE49-F238E27FC236}">
                  <a16:creationId xmlns:a16="http://schemas.microsoft.com/office/drawing/2014/main" id="{308677BE-069B-4A4D-8732-E26B6EF5671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659468" y="3985"/>
              <a:ext cx="9065550" cy="6858000"/>
            </a:xfrm>
            <a:custGeom>
              <a:avLst/>
              <a:gdLst>
                <a:gd name="connsiteX0" fmla="*/ 1839951 w 9065550"/>
                <a:gd name="connsiteY0" fmla="*/ 0 h 6858000"/>
                <a:gd name="connsiteX1" fmla="*/ 6979427 w 9065550"/>
                <a:gd name="connsiteY1" fmla="*/ 0 h 6858000"/>
                <a:gd name="connsiteX2" fmla="*/ 6989586 w 9065550"/>
                <a:gd name="connsiteY2" fmla="*/ 6825 h 6858000"/>
                <a:gd name="connsiteX3" fmla="*/ 8932062 w 9065550"/>
                <a:gd name="connsiteY3" fmla="*/ 4580835 h 6858000"/>
                <a:gd name="connsiteX4" fmla="*/ 7166294 w 9065550"/>
                <a:gd name="connsiteY4" fmla="*/ 6259703 h 6858000"/>
                <a:gd name="connsiteX5" fmla="*/ 6868878 w 9065550"/>
                <a:gd name="connsiteY5" fmla="*/ 6564765 h 6858000"/>
                <a:gd name="connsiteX6" fmla="*/ 6591881 w 9065550"/>
                <a:gd name="connsiteY6" fmla="*/ 6858000 h 6858000"/>
                <a:gd name="connsiteX7" fmla="*/ 5184648 w 9065550"/>
                <a:gd name="connsiteY7" fmla="*/ 6858000 h 6858000"/>
                <a:gd name="connsiteX8" fmla="*/ 5244877 w 9065550"/>
                <a:gd name="connsiteY8" fmla="*/ 6817615 h 6858000"/>
                <a:gd name="connsiteX9" fmla="*/ 6033853 w 9065550"/>
                <a:gd name="connsiteY9" fmla="*/ 6069135 h 6858000"/>
                <a:gd name="connsiteX10" fmla="*/ 6480248 w 9065550"/>
                <a:gd name="connsiteY10" fmla="*/ 5607082 h 6858000"/>
                <a:gd name="connsiteX11" fmla="*/ 7551502 w 9065550"/>
                <a:gd name="connsiteY11" fmla="*/ 4859004 h 6858000"/>
                <a:gd name="connsiteX12" fmla="*/ 7844227 w 9065550"/>
                <a:gd name="connsiteY12" fmla="*/ 4683074 h 6858000"/>
                <a:gd name="connsiteX13" fmla="*/ 8005810 w 9065550"/>
                <a:gd name="connsiteY13" fmla="*/ 4330239 h 6858000"/>
                <a:gd name="connsiteX14" fmla="*/ 8016191 w 9065550"/>
                <a:gd name="connsiteY14" fmla="*/ 2956574 h 6858000"/>
                <a:gd name="connsiteX15" fmla="*/ 7346424 w 9065550"/>
                <a:gd name="connsiteY15" fmla="*/ 1636739 h 6858000"/>
                <a:gd name="connsiteX16" fmla="*/ 5995751 w 9065550"/>
                <a:gd name="connsiteY16" fmla="*/ 493319 h 6858000"/>
                <a:gd name="connsiteX17" fmla="*/ 4494836 w 9065550"/>
                <a:gd name="connsiteY17" fmla="*/ 75383 h 6858000"/>
                <a:gd name="connsiteX18" fmla="*/ 2002499 w 9065550"/>
                <a:gd name="connsiteY18" fmla="*/ 1094261 h 6858000"/>
                <a:gd name="connsiteX19" fmla="*/ 1241306 w 9065550"/>
                <a:gd name="connsiteY19" fmla="*/ 2206935 h 6858000"/>
                <a:gd name="connsiteX20" fmla="*/ 961736 w 9065550"/>
                <a:gd name="connsiteY20" fmla="*/ 3573719 h 6858000"/>
                <a:gd name="connsiteX21" fmla="*/ 1193878 w 9065550"/>
                <a:gd name="connsiteY21" fmla="*/ 4824208 h 6858000"/>
                <a:gd name="connsiteX22" fmla="*/ 1832096 w 9065550"/>
                <a:gd name="connsiteY22" fmla="*/ 5873050 h 6858000"/>
                <a:gd name="connsiteX23" fmla="*/ 3010752 w 9065550"/>
                <a:gd name="connsiteY23" fmla="*/ 6749475 h 6858000"/>
                <a:gd name="connsiteX24" fmla="*/ 3187037 w 9065550"/>
                <a:gd name="connsiteY24" fmla="*/ 6824756 h 6858000"/>
                <a:gd name="connsiteX25" fmla="*/ 3278211 w 9065550"/>
                <a:gd name="connsiteY25" fmla="*/ 6858000 h 6858000"/>
                <a:gd name="connsiteX26" fmla="*/ 1480830 w 9065550"/>
                <a:gd name="connsiteY26" fmla="*/ 6858000 h 6858000"/>
                <a:gd name="connsiteX27" fmla="*/ 1427607 w 9065550"/>
                <a:gd name="connsiteY27" fmla="*/ 6811515 h 6858000"/>
                <a:gd name="connsiteX28" fmla="*/ 1100739 w 9065550"/>
                <a:gd name="connsiteY28" fmla="*/ 6477651 h 6858000"/>
                <a:gd name="connsiteX29" fmla="*/ 0 w 9065550"/>
                <a:gd name="connsiteY29" fmla="*/ 3573620 h 6858000"/>
                <a:gd name="connsiteX30" fmla="*/ 1805513 w 9065550"/>
                <a:gd name="connsiteY30" fmla="*/ 241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65550" h="6858000">
                  <a:moveTo>
                    <a:pt x="1839951" y="0"/>
                  </a:moveTo>
                  <a:lnTo>
                    <a:pt x="6979427" y="0"/>
                  </a:lnTo>
                  <a:lnTo>
                    <a:pt x="6989586" y="6825"/>
                  </a:lnTo>
                  <a:cubicBezTo>
                    <a:pt x="8438828" y="1031353"/>
                    <a:pt x="9439169" y="2823601"/>
                    <a:pt x="8932062" y="4580835"/>
                  </a:cubicBezTo>
                  <a:cubicBezTo>
                    <a:pt x="8592517" y="5757293"/>
                    <a:pt x="7979652" y="5458140"/>
                    <a:pt x="7166294" y="6259703"/>
                  </a:cubicBezTo>
                  <a:cubicBezTo>
                    <a:pt x="7064618" y="6359905"/>
                    <a:pt x="6966014" y="6462297"/>
                    <a:pt x="6868878" y="6564765"/>
                  </a:cubicBezTo>
                  <a:lnTo>
                    <a:pt x="6591881" y="6858000"/>
                  </a:lnTo>
                  <a:lnTo>
                    <a:pt x="5184648" y="6858000"/>
                  </a:lnTo>
                  <a:lnTo>
                    <a:pt x="5244877" y="6817615"/>
                  </a:lnTo>
                  <a:cubicBezTo>
                    <a:pt x="5481027" y="6649287"/>
                    <a:pt x="5723665" y="6398593"/>
                    <a:pt x="6033853" y="6069135"/>
                  </a:cubicBezTo>
                  <a:cubicBezTo>
                    <a:pt x="6175680" y="5918484"/>
                    <a:pt x="6322395" y="5762660"/>
                    <a:pt x="6480248" y="5607082"/>
                  </a:cubicBezTo>
                  <a:cubicBezTo>
                    <a:pt x="6893276" y="5200077"/>
                    <a:pt x="7273697" y="5002920"/>
                    <a:pt x="7551502" y="4859004"/>
                  </a:cubicBezTo>
                  <a:cubicBezTo>
                    <a:pt x="7687884" y="4788339"/>
                    <a:pt x="7795540" y="4732559"/>
                    <a:pt x="7844227" y="4683074"/>
                  </a:cubicBezTo>
                  <a:cubicBezTo>
                    <a:pt x="7898759" y="4627636"/>
                    <a:pt x="7956165" y="4502313"/>
                    <a:pt x="8005810" y="4330239"/>
                  </a:cubicBezTo>
                  <a:cubicBezTo>
                    <a:pt x="8132968" y="3889611"/>
                    <a:pt x="8136446" y="3427460"/>
                    <a:pt x="8016191" y="2956574"/>
                  </a:cubicBezTo>
                  <a:cubicBezTo>
                    <a:pt x="7900876" y="2505064"/>
                    <a:pt x="7669287" y="2048671"/>
                    <a:pt x="7346424" y="1636739"/>
                  </a:cubicBezTo>
                  <a:cubicBezTo>
                    <a:pt x="6979764" y="1168830"/>
                    <a:pt x="6512706" y="773489"/>
                    <a:pt x="5995751" y="493319"/>
                  </a:cubicBezTo>
                  <a:cubicBezTo>
                    <a:pt x="5491195" y="219884"/>
                    <a:pt x="4972174" y="75383"/>
                    <a:pt x="4494836" y="75383"/>
                  </a:cubicBezTo>
                  <a:cubicBezTo>
                    <a:pt x="3554318" y="75383"/>
                    <a:pt x="2669191" y="437197"/>
                    <a:pt x="2002499" y="1094261"/>
                  </a:cubicBezTo>
                  <a:cubicBezTo>
                    <a:pt x="1676360" y="1415667"/>
                    <a:pt x="1420225" y="1790023"/>
                    <a:pt x="1241306" y="2206935"/>
                  </a:cubicBezTo>
                  <a:cubicBezTo>
                    <a:pt x="1055782" y="2639169"/>
                    <a:pt x="961736" y="3099027"/>
                    <a:pt x="961736" y="3573719"/>
                  </a:cubicBezTo>
                  <a:cubicBezTo>
                    <a:pt x="961736" y="4005124"/>
                    <a:pt x="1039805" y="4425841"/>
                    <a:pt x="1193878" y="4824208"/>
                  </a:cubicBezTo>
                  <a:cubicBezTo>
                    <a:pt x="1342457" y="5208423"/>
                    <a:pt x="1557214" y="5561306"/>
                    <a:pt x="1832096" y="5873050"/>
                  </a:cubicBezTo>
                  <a:cubicBezTo>
                    <a:pt x="2157126" y="6241599"/>
                    <a:pt x="2564661" y="6544656"/>
                    <a:pt x="3010752" y="6749475"/>
                  </a:cubicBezTo>
                  <a:cubicBezTo>
                    <a:pt x="3069003" y="6776219"/>
                    <a:pt x="3127773" y="6801314"/>
                    <a:pt x="3187037" y="6824756"/>
                  </a:cubicBezTo>
                  <a:lnTo>
                    <a:pt x="3278211" y="6858000"/>
                  </a:lnTo>
                  <a:lnTo>
                    <a:pt x="1480830" y="6858000"/>
                  </a:lnTo>
                  <a:lnTo>
                    <a:pt x="1427607" y="6811515"/>
                  </a:lnTo>
                  <a:cubicBezTo>
                    <a:pt x="1312870" y="6705919"/>
                    <a:pt x="1203751" y="6594470"/>
                    <a:pt x="1100739" y="6477651"/>
                  </a:cubicBezTo>
                  <a:cubicBezTo>
                    <a:pt x="415045" y="5700097"/>
                    <a:pt x="0" y="4684635"/>
                    <a:pt x="0" y="3573620"/>
                  </a:cubicBezTo>
                  <a:cubicBezTo>
                    <a:pt x="0" y="2121118"/>
                    <a:pt x="709459" y="831902"/>
                    <a:pt x="1805513" y="24133"/>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9A9A575B-DD07-4388-963B-0AF3FDDCF3C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648217" y="3985"/>
              <a:ext cx="9088051" cy="6858000"/>
            </a:xfrm>
            <a:custGeom>
              <a:avLst/>
              <a:gdLst>
                <a:gd name="connsiteX0" fmla="*/ 5158786 w 9088051"/>
                <a:gd name="connsiteY0" fmla="*/ 0 h 6858000"/>
                <a:gd name="connsiteX1" fmla="*/ 6996771 w 9088051"/>
                <a:gd name="connsiteY1" fmla="*/ 0 h 6858000"/>
                <a:gd name="connsiteX2" fmla="*/ 7006955 w 9088051"/>
                <a:gd name="connsiteY2" fmla="*/ 6825 h 6858000"/>
                <a:gd name="connsiteX3" fmla="*/ 8954230 w 9088051"/>
                <a:gd name="connsiteY3" fmla="*/ 4580835 h 6858000"/>
                <a:gd name="connsiteX4" fmla="*/ 7184080 w 9088051"/>
                <a:gd name="connsiteY4" fmla="*/ 6259703 h 6858000"/>
                <a:gd name="connsiteX5" fmla="*/ 6885926 w 9088051"/>
                <a:gd name="connsiteY5" fmla="*/ 6564765 h 6858000"/>
                <a:gd name="connsiteX6" fmla="*/ 6608241 w 9088051"/>
                <a:gd name="connsiteY6" fmla="*/ 6858000 h 6858000"/>
                <a:gd name="connsiteX7" fmla="*/ 5462870 w 9088051"/>
                <a:gd name="connsiteY7" fmla="*/ 6858000 h 6858000"/>
                <a:gd name="connsiteX8" fmla="*/ 5529056 w 9088051"/>
                <a:gd name="connsiteY8" fmla="*/ 6804645 h 6858000"/>
                <a:gd name="connsiteX9" fmla="*/ 6167613 w 9088051"/>
                <a:gd name="connsiteY9" fmla="*/ 6173667 h 6858000"/>
                <a:gd name="connsiteX10" fmla="*/ 6610973 w 9088051"/>
                <a:gd name="connsiteY10" fmla="*/ 5715860 h 6858000"/>
                <a:gd name="connsiteX11" fmla="*/ 7646083 w 9088051"/>
                <a:gd name="connsiteY11" fmla="*/ 4995842 h 6858000"/>
                <a:gd name="connsiteX12" fmla="*/ 7980054 w 9088051"/>
                <a:gd name="connsiteY12" fmla="*/ 4790095 h 6858000"/>
                <a:gd name="connsiteX13" fmla="*/ 8180437 w 9088051"/>
                <a:gd name="connsiteY13" fmla="*/ 4371964 h 6858000"/>
                <a:gd name="connsiteX14" fmla="*/ 8192058 w 9088051"/>
                <a:gd name="connsiteY14" fmla="*/ 2919242 h 6858000"/>
                <a:gd name="connsiteX15" fmla="*/ 7492638 w 9088051"/>
                <a:gd name="connsiteY15" fmla="*/ 1542845 h 6858000"/>
                <a:gd name="connsiteX16" fmla="*/ 6089097 w 9088051"/>
                <a:gd name="connsiteY16" fmla="*/ 357847 h 6858000"/>
                <a:gd name="connsiteX17" fmla="*/ 5288639 w 9088051"/>
                <a:gd name="connsiteY17" fmla="*/ 31627 h 6858000"/>
                <a:gd name="connsiteX18" fmla="*/ 1844517 w 9088051"/>
                <a:gd name="connsiteY18" fmla="*/ 0 h 6858000"/>
                <a:gd name="connsiteX19" fmla="*/ 3734467 w 9088051"/>
                <a:gd name="connsiteY19" fmla="*/ 0 h 6858000"/>
                <a:gd name="connsiteX20" fmla="*/ 3603618 w 9088051"/>
                <a:gd name="connsiteY20" fmla="*/ 28853 h 6858000"/>
                <a:gd name="connsiteX21" fmla="*/ 1892878 w 9088051"/>
                <a:gd name="connsiteY21" fmla="*/ 985434 h 6858000"/>
                <a:gd name="connsiteX22" fmla="*/ 1096045 w 9088051"/>
                <a:gd name="connsiteY22" fmla="*/ 2147349 h 6858000"/>
                <a:gd name="connsiteX23" fmla="*/ 803453 w 9088051"/>
                <a:gd name="connsiteY23" fmla="*/ 3573669 h 6858000"/>
                <a:gd name="connsiteX24" fmla="*/ 1046377 w 9088051"/>
                <a:gd name="connsiteY24" fmla="*/ 4878573 h 6858000"/>
                <a:gd name="connsiteX25" fmla="*/ 1714473 w 9088051"/>
                <a:gd name="connsiteY25" fmla="*/ 5973776 h 6858000"/>
                <a:gd name="connsiteX26" fmla="*/ 2776083 w 9088051"/>
                <a:gd name="connsiteY26" fmla="*/ 6804641 h 6858000"/>
                <a:gd name="connsiteX27" fmla="*/ 2884836 w 9088051"/>
                <a:gd name="connsiteY27" fmla="*/ 6858000 h 6858000"/>
                <a:gd name="connsiteX28" fmla="*/ 1484505 w 9088051"/>
                <a:gd name="connsiteY28" fmla="*/ 6858000 h 6858000"/>
                <a:gd name="connsiteX29" fmla="*/ 1431151 w 9088051"/>
                <a:gd name="connsiteY29" fmla="*/ 6811515 h 6858000"/>
                <a:gd name="connsiteX30" fmla="*/ 1103471 w 9088051"/>
                <a:gd name="connsiteY30" fmla="*/ 6477651 h 6858000"/>
                <a:gd name="connsiteX31" fmla="*/ 0 w 9088051"/>
                <a:gd name="connsiteY31" fmla="*/ 3573620 h 6858000"/>
                <a:gd name="connsiteX32" fmla="*/ 1809994 w 9088051"/>
                <a:gd name="connsiteY32" fmla="*/ 241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9088051" h="6858000">
                  <a:moveTo>
                    <a:pt x="5158786" y="0"/>
                  </a:moveTo>
                  <a:lnTo>
                    <a:pt x="6996771" y="0"/>
                  </a:lnTo>
                  <a:lnTo>
                    <a:pt x="7006955" y="6825"/>
                  </a:lnTo>
                  <a:cubicBezTo>
                    <a:pt x="8459794" y="1031353"/>
                    <a:pt x="9462596" y="2823601"/>
                    <a:pt x="8954230" y="4580835"/>
                  </a:cubicBezTo>
                  <a:cubicBezTo>
                    <a:pt x="8613842" y="5757293"/>
                    <a:pt x="7999457" y="5458140"/>
                    <a:pt x="7184080" y="6259703"/>
                  </a:cubicBezTo>
                  <a:cubicBezTo>
                    <a:pt x="7082152" y="6359905"/>
                    <a:pt x="6983303" y="6462297"/>
                    <a:pt x="6885926" y="6564765"/>
                  </a:cubicBezTo>
                  <a:lnTo>
                    <a:pt x="6608241" y="6858000"/>
                  </a:lnTo>
                  <a:lnTo>
                    <a:pt x="5462870" y="6858000"/>
                  </a:lnTo>
                  <a:lnTo>
                    <a:pt x="5529056" y="6804645"/>
                  </a:lnTo>
                  <a:cubicBezTo>
                    <a:pt x="5740217" y="6626505"/>
                    <a:pt x="5949382" y="6404876"/>
                    <a:pt x="6167613" y="6173667"/>
                  </a:cubicBezTo>
                  <a:cubicBezTo>
                    <a:pt x="6308782" y="6024091"/>
                    <a:pt x="6454799" y="5869390"/>
                    <a:pt x="6610973" y="5715860"/>
                  </a:cubicBezTo>
                  <a:cubicBezTo>
                    <a:pt x="7007847" y="5325741"/>
                    <a:pt x="7376733" y="5135074"/>
                    <a:pt x="7646083" y="4995842"/>
                  </a:cubicBezTo>
                  <a:cubicBezTo>
                    <a:pt x="7816858" y="4907561"/>
                    <a:pt x="7916545" y="4854514"/>
                    <a:pt x="7980054" y="4790095"/>
                  </a:cubicBezTo>
                  <a:cubicBezTo>
                    <a:pt x="8054629" y="4714405"/>
                    <a:pt x="8122031" y="4573758"/>
                    <a:pt x="8180437" y="4371964"/>
                  </a:cubicBezTo>
                  <a:cubicBezTo>
                    <a:pt x="8315441" y="3905228"/>
                    <a:pt x="8319381" y="3416431"/>
                    <a:pt x="8192058" y="2919242"/>
                  </a:cubicBezTo>
                  <a:cubicBezTo>
                    <a:pt x="8071251" y="2447381"/>
                    <a:pt x="7829388" y="1971467"/>
                    <a:pt x="7492638" y="1542845"/>
                  </a:cubicBezTo>
                  <a:cubicBezTo>
                    <a:pt x="7111829" y="1058099"/>
                    <a:pt x="6626484" y="648361"/>
                    <a:pt x="6089097" y="357847"/>
                  </a:cubicBezTo>
                  <a:cubicBezTo>
                    <a:pt x="5824244" y="214687"/>
                    <a:pt x="5554957" y="105262"/>
                    <a:pt x="5288639" y="31627"/>
                  </a:cubicBezTo>
                  <a:close/>
                  <a:moveTo>
                    <a:pt x="1844517" y="0"/>
                  </a:moveTo>
                  <a:lnTo>
                    <a:pt x="3734467" y="0"/>
                  </a:lnTo>
                  <a:lnTo>
                    <a:pt x="3603618" y="28853"/>
                  </a:lnTo>
                  <a:cubicBezTo>
                    <a:pt x="2962049" y="186733"/>
                    <a:pt x="2373277" y="513136"/>
                    <a:pt x="1892878" y="985434"/>
                  </a:cubicBezTo>
                  <a:cubicBezTo>
                    <a:pt x="1551428" y="1321091"/>
                    <a:pt x="1283341" y="1711990"/>
                    <a:pt x="1096045" y="2147349"/>
                  </a:cubicBezTo>
                  <a:cubicBezTo>
                    <a:pt x="901876" y="2598519"/>
                    <a:pt x="803453" y="3078432"/>
                    <a:pt x="803453" y="3573669"/>
                  </a:cubicBezTo>
                  <a:cubicBezTo>
                    <a:pt x="803453" y="4023717"/>
                    <a:pt x="885151" y="4462735"/>
                    <a:pt x="1046377" y="4878573"/>
                  </a:cubicBezTo>
                  <a:cubicBezTo>
                    <a:pt x="1201945" y="5279770"/>
                    <a:pt x="1426681" y="5648221"/>
                    <a:pt x="1714473" y="5973776"/>
                  </a:cubicBezTo>
                  <a:cubicBezTo>
                    <a:pt x="2012357" y="6310732"/>
                    <a:pt x="2376505" y="6595304"/>
                    <a:pt x="2776083" y="6804641"/>
                  </a:cubicBezTo>
                  <a:lnTo>
                    <a:pt x="2884836" y="6858000"/>
                  </a:lnTo>
                  <a:lnTo>
                    <a:pt x="1484505" y="6858000"/>
                  </a:lnTo>
                  <a:lnTo>
                    <a:pt x="1431151" y="6811515"/>
                  </a:lnTo>
                  <a:cubicBezTo>
                    <a:pt x="1316128" y="6705919"/>
                    <a:pt x="1206738" y="6594470"/>
                    <a:pt x="1103471" y="6477651"/>
                  </a:cubicBezTo>
                  <a:cubicBezTo>
                    <a:pt x="416075" y="5700097"/>
                    <a:pt x="0" y="4684635"/>
                    <a:pt x="0" y="3573620"/>
                  </a:cubicBezTo>
                  <a:cubicBezTo>
                    <a:pt x="0" y="2121118"/>
                    <a:pt x="711220" y="831902"/>
                    <a:pt x="1809994" y="24133"/>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6" name="Freeform: Shape 15">
              <a:extLst>
                <a:ext uri="{FF2B5EF4-FFF2-40B4-BE49-F238E27FC236}">
                  <a16:creationId xmlns:a16="http://schemas.microsoft.com/office/drawing/2014/main" id="{D55285E4-21EB-4EC1-AB8E-36E881E8992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629061" y="3985"/>
              <a:ext cx="9107210" cy="6858000"/>
            </a:xfrm>
            <a:custGeom>
              <a:avLst/>
              <a:gdLst>
                <a:gd name="connsiteX0" fmla="*/ 6184722 w 9107210"/>
                <a:gd name="connsiteY0" fmla="*/ 0 h 6858000"/>
                <a:gd name="connsiteX1" fmla="*/ 6985680 w 9107210"/>
                <a:gd name="connsiteY1" fmla="*/ 0 h 6858000"/>
                <a:gd name="connsiteX2" fmla="*/ 7324323 w 9107210"/>
                <a:gd name="connsiteY2" fmla="*/ 247136 h 6858000"/>
                <a:gd name="connsiteX3" fmla="*/ 7652712 w 9107210"/>
                <a:gd name="connsiteY3" fmla="*/ 528495 h 6858000"/>
                <a:gd name="connsiteX4" fmla="*/ 8236677 w 9107210"/>
                <a:gd name="connsiteY4" fmla="*/ 1166289 h 6858000"/>
                <a:gd name="connsiteX5" fmla="*/ 8704298 w 9107210"/>
                <a:gd name="connsiteY5" fmla="*/ 1897038 h 6858000"/>
                <a:gd name="connsiteX6" fmla="*/ 8885160 w 9107210"/>
                <a:gd name="connsiteY6" fmla="*/ 2294087 h 6858000"/>
                <a:gd name="connsiteX7" fmla="*/ 8924247 w 9107210"/>
                <a:gd name="connsiteY7" fmla="*/ 2396286 h 6858000"/>
                <a:gd name="connsiteX8" fmla="*/ 8960022 w 9107210"/>
                <a:gd name="connsiteY8" fmla="*/ 2499767 h 6858000"/>
                <a:gd name="connsiteX9" fmla="*/ 8991720 w 9107210"/>
                <a:gd name="connsiteY9" fmla="*/ 2604671 h 6858000"/>
                <a:gd name="connsiteX10" fmla="*/ 9019646 w 9107210"/>
                <a:gd name="connsiteY10" fmla="*/ 2710708 h 6858000"/>
                <a:gd name="connsiteX11" fmla="*/ 9105822 w 9107210"/>
                <a:gd name="connsiteY11" fmla="*/ 3582266 h 6858000"/>
                <a:gd name="connsiteX12" fmla="*/ 9057716 w 9107210"/>
                <a:gd name="connsiteY12" fmla="*/ 4017873 h 6858000"/>
                <a:gd name="connsiteX13" fmla="*/ 8945600 w 9107210"/>
                <a:gd name="connsiteY13" fmla="*/ 4439659 h 6858000"/>
                <a:gd name="connsiteX14" fmla="*/ 8796080 w 9107210"/>
                <a:gd name="connsiteY14" fmla="*/ 4847428 h 6858000"/>
                <a:gd name="connsiteX15" fmla="*/ 8702056 w 9107210"/>
                <a:gd name="connsiteY15" fmla="*/ 5050108 h 6858000"/>
                <a:gd name="connsiteX16" fmla="*/ 8581125 w 9107210"/>
                <a:gd name="connsiteY16" fmla="*/ 5247525 h 6858000"/>
                <a:gd name="connsiteX17" fmla="*/ 8426254 w 9107210"/>
                <a:gd name="connsiteY17" fmla="*/ 5429647 h 6858000"/>
                <a:gd name="connsiteX18" fmla="*/ 8337174 w 9107210"/>
                <a:gd name="connsiteY18" fmla="*/ 5510552 h 6858000"/>
                <a:gd name="connsiteX19" fmla="*/ 8243200 w 9107210"/>
                <a:gd name="connsiteY19" fmla="*/ 5582948 h 6858000"/>
                <a:gd name="connsiteX20" fmla="*/ 7868330 w 9107210"/>
                <a:gd name="connsiteY20" fmla="*/ 5811104 h 6858000"/>
                <a:gd name="connsiteX21" fmla="*/ 7538916 w 9107210"/>
                <a:gd name="connsiteY21" fmla="*/ 6018899 h 6858000"/>
                <a:gd name="connsiteX22" fmla="*/ 7391280 w 9107210"/>
                <a:gd name="connsiteY22" fmla="*/ 6134132 h 6858000"/>
                <a:gd name="connsiteX23" fmla="*/ 7252511 w 9107210"/>
                <a:gd name="connsiteY23" fmla="*/ 6259105 h 6858000"/>
                <a:gd name="connsiteX24" fmla="*/ 7185601 w 9107210"/>
                <a:gd name="connsiteY24" fmla="*/ 6325894 h 6858000"/>
                <a:gd name="connsiteX25" fmla="*/ 7116651 w 9107210"/>
                <a:gd name="connsiteY25" fmla="*/ 6397010 h 6858000"/>
                <a:gd name="connsiteX26" fmla="*/ 6978545 w 9107210"/>
                <a:gd name="connsiteY26" fmla="*/ 6541607 h 6858000"/>
                <a:gd name="connsiteX27" fmla="*/ 6693009 w 9107210"/>
                <a:gd name="connsiteY27" fmla="*/ 6832716 h 6858000"/>
                <a:gd name="connsiteX28" fmla="*/ 6667488 w 9107210"/>
                <a:gd name="connsiteY28" fmla="*/ 6858000 h 6858000"/>
                <a:gd name="connsiteX29" fmla="*/ 6056793 w 9107210"/>
                <a:gd name="connsiteY29" fmla="*/ 6858000 h 6858000"/>
                <a:gd name="connsiteX30" fmla="*/ 6077345 w 9107210"/>
                <a:gd name="connsiteY30" fmla="*/ 6835420 h 6858000"/>
                <a:gd name="connsiteX31" fmla="*/ 6208519 w 9107210"/>
                <a:gd name="connsiteY31" fmla="*/ 6683989 h 6858000"/>
                <a:gd name="connsiteX32" fmla="*/ 6340001 w 9107210"/>
                <a:gd name="connsiteY32" fmla="*/ 6529852 h 6858000"/>
                <a:gd name="connsiteX33" fmla="*/ 6611419 w 9107210"/>
                <a:gd name="connsiteY33" fmla="*/ 6219317 h 6858000"/>
                <a:gd name="connsiteX34" fmla="*/ 6757678 w 9107210"/>
                <a:gd name="connsiteY34" fmla="*/ 6068228 h 6858000"/>
                <a:gd name="connsiteX35" fmla="*/ 6833713 w 9107210"/>
                <a:gd name="connsiteY35" fmla="*/ 5994061 h 6858000"/>
                <a:gd name="connsiteX36" fmla="*/ 6915148 w 9107210"/>
                <a:gd name="connsiteY36" fmla="*/ 5918812 h 6858000"/>
                <a:gd name="connsiteX37" fmla="*/ 7276311 w 9107210"/>
                <a:gd name="connsiteY37" fmla="*/ 5650229 h 6858000"/>
                <a:gd name="connsiteX38" fmla="*/ 7664942 w 9107210"/>
                <a:gd name="connsiteY38" fmla="*/ 5445681 h 6858000"/>
                <a:gd name="connsiteX39" fmla="*/ 7848505 w 9107210"/>
                <a:gd name="connsiteY39" fmla="*/ 5358333 h 6858000"/>
                <a:gd name="connsiteX40" fmla="*/ 8011785 w 9107210"/>
                <a:gd name="connsiteY40" fmla="*/ 5267788 h 6858000"/>
                <a:gd name="connsiteX41" fmla="*/ 8260273 w 9107210"/>
                <a:gd name="connsiteY41" fmla="*/ 5034370 h 6858000"/>
                <a:gd name="connsiteX42" fmla="*/ 8417589 w 9107210"/>
                <a:gd name="connsiteY42" fmla="*/ 4714488 h 6858000"/>
                <a:gd name="connsiteX43" fmla="*/ 8495000 w 9107210"/>
                <a:gd name="connsiteY43" fmla="*/ 4346409 h 6858000"/>
                <a:gd name="connsiteX44" fmla="*/ 8508556 w 9107210"/>
                <a:gd name="connsiteY44" fmla="*/ 3971101 h 6858000"/>
                <a:gd name="connsiteX45" fmla="*/ 8483330 w 9107210"/>
                <a:gd name="connsiteY45" fmla="*/ 3600710 h 6858000"/>
                <a:gd name="connsiteX46" fmla="*/ 8425336 w 9107210"/>
                <a:gd name="connsiteY46" fmla="*/ 3236121 h 6858000"/>
                <a:gd name="connsiteX47" fmla="*/ 8334575 w 9107210"/>
                <a:gd name="connsiteY47" fmla="*/ 2877977 h 6858000"/>
                <a:gd name="connsiteX48" fmla="*/ 8087513 w 9107210"/>
                <a:gd name="connsiteY48" fmla="*/ 2174622 h 6858000"/>
                <a:gd name="connsiteX49" fmla="*/ 7723650 w 9107210"/>
                <a:gd name="connsiteY49" fmla="*/ 1507613 h 6858000"/>
                <a:gd name="connsiteX50" fmla="*/ 7501815 w 9107210"/>
                <a:gd name="connsiteY50" fmla="*/ 1192947 h 6858000"/>
                <a:gd name="connsiteX51" fmla="*/ 7254399 w 9107210"/>
                <a:gd name="connsiteY51" fmla="*/ 894361 h 6858000"/>
                <a:gd name="connsiteX52" fmla="*/ 6689339 w 9107210"/>
                <a:gd name="connsiteY52" fmla="*/ 354046 h 6858000"/>
                <a:gd name="connsiteX53" fmla="*/ 6206651 w 9107210"/>
                <a:gd name="connsiteY53" fmla="*/ 12626 h 6858000"/>
                <a:gd name="connsiteX54" fmla="*/ 1827105 w 9107210"/>
                <a:gd name="connsiteY54" fmla="*/ 0 h 6858000"/>
                <a:gd name="connsiteX55" fmla="*/ 2807607 w 9107210"/>
                <a:gd name="connsiteY55" fmla="*/ 0 h 6858000"/>
                <a:gd name="connsiteX56" fmla="*/ 2667958 w 9107210"/>
                <a:gd name="connsiteY56" fmla="*/ 88235 h 6858000"/>
                <a:gd name="connsiteX57" fmla="*/ 2354723 w 9107210"/>
                <a:gd name="connsiteY57" fmla="*/ 314947 h 6858000"/>
                <a:gd name="connsiteX58" fmla="*/ 2059963 w 9107210"/>
                <a:gd name="connsiteY58" fmla="*/ 561545 h 6858000"/>
                <a:gd name="connsiteX59" fmla="*/ 1780798 w 9107210"/>
                <a:gd name="connsiteY59" fmla="*/ 824425 h 6858000"/>
                <a:gd name="connsiteX60" fmla="*/ 954714 w 9107210"/>
                <a:gd name="connsiteY60" fmla="*/ 2094309 h 6858000"/>
                <a:gd name="connsiteX61" fmla="*/ 732676 w 9107210"/>
                <a:gd name="connsiteY61" fmla="*/ 2813646 h 6858000"/>
                <a:gd name="connsiteX62" fmla="*/ 673867 w 9107210"/>
                <a:gd name="connsiteY62" fmla="*/ 3183989 h 6858000"/>
                <a:gd name="connsiteX63" fmla="*/ 647621 w 9107210"/>
                <a:gd name="connsiteY63" fmla="*/ 3557281 h 6858000"/>
                <a:gd name="connsiteX64" fmla="*/ 653381 w 9107210"/>
                <a:gd name="connsiteY64" fmla="*/ 3931214 h 6858000"/>
                <a:gd name="connsiteX65" fmla="*/ 690428 w 9107210"/>
                <a:gd name="connsiteY65" fmla="*/ 4303719 h 6858000"/>
                <a:gd name="connsiteX66" fmla="*/ 871801 w 9107210"/>
                <a:gd name="connsiteY66" fmla="*/ 5033041 h 6858000"/>
                <a:gd name="connsiteX67" fmla="*/ 1197749 w 9107210"/>
                <a:gd name="connsiteY67" fmla="*/ 5718494 h 6858000"/>
                <a:gd name="connsiteX68" fmla="*/ 1411480 w 9107210"/>
                <a:gd name="connsiteY68" fmla="*/ 6036703 h 6858000"/>
                <a:gd name="connsiteX69" fmla="*/ 1530170 w 9107210"/>
                <a:gd name="connsiteY69" fmla="*/ 6188430 h 6858000"/>
                <a:gd name="connsiteX70" fmla="*/ 1657165 w 9107210"/>
                <a:gd name="connsiteY70" fmla="*/ 6335385 h 6858000"/>
                <a:gd name="connsiteX71" fmla="*/ 1931343 w 9107210"/>
                <a:gd name="connsiteY71" fmla="*/ 6612896 h 6858000"/>
                <a:gd name="connsiteX72" fmla="*/ 2220133 w 9107210"/>
                <a:gd name="connsiteY72" fmla="*/ 6858000 h 6858000"/>
                <a:gd name="connsiteX73" fmla="*/ 1539862 w 9107210"/>
                <a:gd name="connsiteY73" fmla="*/ 6858000 h 6858000"/>
                <a:gd name="connsiteX74" fmla="*/ 1307111 w 9107210"/>
                <a:gd name="connsiteY74" fmla="*/ 6648873 h 6858000"/>
                <a:gd name="connsiteX75" fmla="*/ 750258 w 9107210"/>
                <a:gd name="connsiteY75" fmla="*/ 5987570 h 6858000"/>
                <a:gd name="connsiteX76" fmla="*/ 335382 w 9107210"/>
                <a:gd name="connsiteY76" fmla="*/ 5229279 h 6858000"/>
                <a:gd name="connsiteX77" fmla="*/ 79351 w 9107210"/>
                <a:gd name="connsiteY77" fmla="*/ 4403854 h 6858000"/>
                <a:gd name="connsiteX78" fmla="*/ 16007 w 9107210"/>
                <a:gd name="connsiteY78" fmla="*/ 3975723 h 6858000"/>
                <a:gd name="connsiteX79" fmla="*/ 871 w 9107210"/>
                <a:gd name="connsiteY79" fmla="*/ 3543362 h 6858000"/>
                <a:gd name="connsiteX80" fmla="*/ 32519 w 9107210"/>
                <a:gd name="connsiteY80" fmla="*/ 3112085 h 6858000"/>
                <a:gd name="connsiteX81" fmla="*/ 108502 w 9107210"/>
                <a:gd name="connsiteY81" fmla="*/ 2686511 h 6858000"/>
                <a:gd name="connsiteX82" fmla="*/ 378239 w 9107210"/>
                <a:gd name="connsiteY82" fmla="*/ 1865955 h 6858000"/>
                <a:gd name="connsiteX83" fmla="*/ 1343701 w 9107210"/>
                <a:gd name="connsiteY83" fmla="*/ 431508 h 6858000"/>
                <a:gd name="connsiteX84" fmla="*/ 1661853 w 9107210"/>
                <a:gd name="connsiteY84" fmla="*/ 13026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9107210" h="6858000">
                  <a:moveTo>
                    <a:pt x="6184722" y="0"/>
                  </a:moveTo>
                  <a:lnTo>
                    <a:pt x="6985680" y="0"/>
                  </a:lnTo>
                  <a:lnTo>
                    <a:pt x="7324323" y="247136"/>
                  </a:lnTo>
                  <a:cubicBezTo>
                    <a:pt x="7437502" y="336500"/>
                    <a:pt x="7547171" y="430254"/>
                    <a:pt x="7652712" y="528495"/>
                  </a:cubicBezTo>
                  <a:cubicBezTo>
                    <a:pt x="7863743" y="724929"/>
                    <a:pt x="8060097" y="937593"/>
                    <a:pt x="8236677" y="1166289"/>
                  </a:cubicBezTo>
                  <a:cubicBezTo>
                    <a:pt x="8413818" y="1394594"/>
                    <a:pt x="8570168" y="1639471"/>
                    <a:pt x="8704298" y="1897038"/>
                  </a:cubicBezTo>
                  <a:cubicBezTo>
                    <a:pt x="8770803" y="2026141"/>
                    <a:pt x="8830836" y="2158786"/>
                    <a:pt x="8885160" y="2294087"/>
                  </a:cubicBezTo>
                  <a:cubicBezTo>
                    <a:pt x="8898360" y="2328071"/>
                    <a:pt x="8912169" y="2361810"/>
                    <a:pt x="8924247" y="2396286"/>
                  </a:cubicBezTo>
                  <a:lnTo>
                    <a:pt x="8960022" y="2499767"/>
                  </a:lnTo>
                  <a:lnTo>
                    <a:pt x="8991720" y="2604671"/>
                  </a:lnTo>
                  <a:cubicBezTo>
                    <a:pt x="9002116" y="2639690"/>
                    <a:pt x="9010474" y="2675346"/>
                    <a:pt x="9019646" y="2710708"/>
                  </a:cubicBezTo>
                  <a:cubicBezTo>
                    <a:pt x="9089055" y="2995079"/>
                    <a:pt x="9113620" y="3289927"/>
                    <a:pt x="9105822" y="3582266"/>
                  </a:cubicBezTo>
                  <a:cubicBezTo>
                    <a:pt x="9101796" y="3728484"/>
                    <a:pt x="9085744" y="3874458"/>
                    <a:pt x="9057716" y="4017873"/>
                  </a:cubicBezTo>
                  <a:cubicBezTo>
                    <a:pt x="9029534" y="4161336"/>
                    <a:pt x="8990497" y="4302046"/>
                    <a:pt x="8945600" y="4439659"/>
                  </a:cubicBezTo>
                  <a:cubicBezTo>
                    <a:pt x="8900857" y="4577566"/>
                    <a:pt x="8852901" y="4711784"/>
                    <a:pt x="8796080" y="4847428"/>
                  </a:cubicBezTo>
                  <a:cubicBezTo>
                    <a:pt x="8767695" y="4915152"/>
                    <a:pt x="8737016" y="4982926"/>
                    <a:pt x="8702056" y="5050108"/>
                  </a:cubicBezTo>
                  <a:cubicBezTo>
                    <a:pt x="8666485" y="5116997"/>
                    <a:pt x="8627347" y="5183687"/>
                    <a:pt x="8581125" y="5247525"/>
                  </a:cubicBezTo>
                  <a:cubicBezTo>
                    <a:pt x="8535565" y="5311660"/>
                    <a:pt x="8483534" y="5373185"/>
                    <a:pt x="8426254" y="5429647"/>
                  </a:cubicBezTo>
                  <a:cubicBezTo>
                    <a:pt x="8397512" y="5457779"/>
                    <a:pt x="8367801" y="5484879"/>
                    <a:pt x="8337174" y="5510552"/>
                  </a:cubicBezTo>
                  <a:cubicBezTo>
                    <a:pt x="8306444" y="5536077"/>
                    <a:pt x="8274899" y="5560029"/>
                    <a:pt x="8243200" y="5582948"/>
                  </a:cubicBezTo>
                  <a:cubicBezTo>
                    <a:pt x="8115543" y="5674574"/>
                    <a:pt x="7986203" y="5743233"/>
                    <a:pt x="7868330" y="5811104"/>
                  </a:cubicBezTo>
                  <a:cubicBezTo>
                    <a:pt x="7749844" y="5878385"/>
                    <a:pt x="7640685" y="5945126"/>
                    <a:pt x="7538916" y="6018899"/>
                  </a:cubicBezTo>
                  <a:cubicBezTo>
                    <a:pt x="7487749" y="6055392"/>
                    <a:pt x="7438777" y="6093950"/>
                    <a:pt x="7391280" y="6134132"/>
                  </a:cubicBezTo>
                  <a:cubicBezTo>
                    <a:pt x="7343427" y="6173921"/>
                    <a:pt x="7297511" y="6215922"/>
                    <a:pt x="7252511" y="6259105"/>
                  </a:cubicBezTo>
                  <a:cubicBezTo>
                    <a:pt x="7229784" y="6280990"/>
                    <a:pt x="7208635" y="6302433"/>
                    <a:pt x="7185601" y="6325894"/>
                  </a:cubicBezTo>
                  <a:lnTo>
                    <a:pt x="7116651" y="6397010"/>
                  </a:lnTo>
                  <a:lnTo>
                    <a:pt x="6978545" y="6541607"/>
                  </a:lnTo>
                  <a:cubicBezTo>
                    <a:pt x="6885693" y="6638397"/>
                    <a:pt x="6789885" y="6734943"/>
                    <a:pt x="6693009" y="6832716"/>
                  </a:cubicBezTo>
                  <a:lnTo>
                    <a:pt x="6667488" y="6858000"/>
                  </a:lnTo>
                  <a:lnTo>
                    <a:pt x="6056793" y="6858000"/>
                  </a:lnTo>
                  <a:lnTo>
                    <a:pt x="6077345" y="6835420"/>
                  </a:lnTo>
                  <a:cubicBezTo>
                    <a:pt x="6121427" y="6785747"/>
                    <a:pt x="6164948" y="6735090"/>
                    <a:pt x="6208519" y="6683989"/>
                  </a:cubicBezTo>
                  <a:lnTo>
                    <a:pt x="6340001" y="6529852"/>
                  </a:lnTo>
                  <a:cubicBezTo>
                    <a:pt x="6428315" y="6426667"/>
                    <a:pt x="6516733" y="6321417"/>
                    <a:pt x="6611419" y="6219317"/>
                  </a:cubicBezTo>
                  <a:cubicBezTo>
                    <a:pt x="6658864" y="6168363"/>
                    <a:pt x="6707584" y="6117950"/>
                    <a:pt x="6757678" y="6068228"/>
                  </a:cubicBezTo>
                  <a:lnTo>
                    <a:pt x="6833713" y="5994061"/>
                  </a:lnTo>
                  <a:cubicBezTo>
                    <a:pt x="6859346" y="5969422"/>
                    <a:pt x="6887579" y="5943404"/>
                    <a:pt x="6915148" y="5918812"/>
                  </a:cubicBezTo>
                  <a:cubicBezTo>
                    <a:pt x="7026295" y="5819219"/>
                    <a:pt x="7148602" y="5729117"/>
                    <a:pt x="7276311" y="5650229"/>
                  </a:cubicBezTo>
                  <a:cubicBezTo>
                    <a:pt x="7403918" y="5571046"/>
                    <a:pt x="7537794" y="5505190"/>
                    <a:pt x="7664942" y="5445681"/>
                  </a:cubicBezTo>
                  <a:cubicBezTo>
                    <a:pt x="7728491" y="5416024"/>
                    <a:pt x="7790410" y="5387449"/>
                    <a:pt x="7848505" y="5358333"/>
                  </a:cubicBezTo>
                  <a:cubicBezTo>
                    <a:pt x="7906805" y="5329315"/>
                    <a:pt x="7961843" y="5300101"/>
                    <a:pt x="8011785" y="5267788"/>
                  </a:cubicBezTo>
                  <a:cubicBezTo>
                    <a:pt x="8112281" y="5203950"/>
                    <a:pt x="8193615" y="5128111"/>
                    <a:pt x="8260273" y="5034370"/>
                  </a:cubicBezTo>
                  <a:cubicBezTo>
                    <a:pt x="8326370" y="4940776"/>
                    <a:pt x="8378657" y="4831640"/>
                    <a:pt x="8417589" y="4714488"/>
                  </a:cubicBezTo>
                  <a:cubicBezTo>
                    <a:pt x="8456372" y="4597485"/>
                    <a:pt x="8481140" y="4471332"/>
                    <a:pt x="8495000" y="4346409"/>
                  </a:cubicBezTo>
                  <a:cubicBezTo>
                    <a:pt x="8508404" y="4221044"/>
                    <a:pt x="8511359" y="4095482"/>
                    <a:pt x="8508556" y="3971101"/>
                  </a:cubicBezTo>
                  <a:cubicBezTo>
                    <a:pt x="8504530" y="3846571"/>
                    <a:pt x="8495663" y="3723222"/>
                    <a:pt x="8483330" y="3600710"/>
                  </a:cubicBezTo>
                  <a:cubicBezTo>
                    <a:pt x="8470793" y="3478148"/>
                    <a:pt x="8451888" y="3356421"/>
                    <a:pt x="8425336" y="3236121"/>
                  </a:cubicBezTo>
                  <a:cubicBezTo>
                    <a:pt x="8399091" y="3115774"/>
                    <a:pt x="8367801" y="2996655"/>
                    <a:pt x="8334575" y="2877977"/>
                  </a:cubicBezTo>
                  <a:cubicBezTo>
                    <a:pt x="8268222" y="2640772"/>
                    <a:pt x="8190100" y="2404057"/>
                    <a:pt x="8087513" y="2174622"/>
                  </a:cubicBezTo>
                  <a:cubicBezTo>
                    <a:pt x="7985081" y="1945237"/>
                    <a:pt x="7863233" y="1721900"/>
                    <a:pt x="7723650" y="1507613"/>
                  </a:cubicBezTo>
                  <a:cubicBezTo>
                    <a:pt x="7653527" y="1400692"/>
                    <a:pt x="7579684" y="1295589"/>
                    <a:pt x="7501815" y="1192947"/>
                  </a:cubicBezTo>
                  <a:cubicBezTo>
                    <a:pt x="7423844" y="1090353"/>
                    <a:pt x="7340778" y="991103"/>
                    <a:pt x="7254399" y="894361"/>
                  </a:cubicBezTo>
                  <a:cubicBezTo>
                    <a:pt x="7082047" y="700485"/>
                    <a:pt x="6893083" y="519052"/>
                    <a:pt x="6689339" y="354046"/>
                  </a:cubicBezTo>
                  <a:cubicBezTo>
                    <a:pt x="6536914" y="229775"/>
                    <a:pt x="6375602" y="115325"/>
                    <a:pt x="6206651" y="12626"/>
                  </a:cubicBezTo>
                  <a:close/>
                  <a:moveTo>
                    <a:pt x="1827105" y="0"/>
                  </a:moveTo>
                  <a:lnTo>
                    <a:pt x="2807607" y="0"/>
                  </a:lnTo>
                  <a:lnTo>
                    <a:pt x="2667958" y="88235"/>
                  </a:lnTo>
                  <a:cubicBezTo>
                    <a:pt x="2560098" y="159777"/>
                    <a:pt x="2455754" y="235690"/>
                    <a:pt x="2354723" y="314947"/>
                  </a:cubicBezTo>
                  <a:cubicBezTo>
                    <a:pt x="2253464" y="394030"/>
                    <a:pt x="2156943" y="478181"/>
                    <a:pt x="2059963" y="561545"/>
                  </a:cubicBezTo>
                  <a:cubicBezTo>
                    <a:pt x="1962831" y="644811"/>
                    <a:pt x="1868297" y="731322"/>
                    <a:pt x="1780798" y="824425"/>
                  </a:cubicBezTo>
                  <a:cubicBezTo>
                    <a:pt x="1429010" y="1195013"/>
                    <a:pt x="1148011" y="1628455"/>
                    <a:pt x="954714" y="2094309"/>
                  </a:cubicBezTo>
                  <a:cubicBezTo>
                    <a:pt x="857938" y="2327186"/>
                    <a:pt x="783229" y="2568326"/>
                    <a:pt x="732676" y="2813646"/>
                  </a:cubicBezTo>
                  <a:cubicBezTo>
                    <a:pt x="707552" y="2936307"/>
                    <a:pt x="688085" y="3059952"/>
                    <a:pt x="673867" y="3183989"/>
                  </a:cubicBezTo>
                  <a:cubicBezTo>
                    <a:pt x="660056" y="3308075"/>
                    <a:pt x="651341" y="3432605"/>
                    <a:pt x="647621" y="3557281"/>
                  </a:cubicBezTo>
                  <a:cubicBezTo>
                    <a:pt x="644411" y="3681958"/>
                    <a:pt x="645329" y="3806733"/>
                    <a:pt x="653381" y="3931214"/>
                  </a:cubicBezTo>
                  <a:cubicBezTo>
                    <a:pt x="659852" y="4055792"/>
                    <a:pt x="672949" y="4179977"/>
                    <a:pt x="690428" y="4303719"/>
                  </a:cubicBezTo>
                  <a:cubicBezTo>
                    <a:pt x="726408" y="4551057"/>
                    <a:pt x="786440" y="4795835"/>
                    <a:pt x="871801" y="5033041"/>
                  </a:cubicBezTo>
                  <a:cubicBezTo>
                    <a:pt x="957007" y="5270247"/>
                    <a:pt x="1065962" y="5500322"/>
                    <a:pt x="1197749" y="5718494"/>
                  </a:cubicBezTo>
                  <a:cubicBezTo>
                    <a:pt x="1263846" y="5827433"/>
                    <a:pt x="1334937" y="5933813"/>
                    <a:pt x="1411480" y="6036703"/>
                  </a:cubicBezTo>
                  <a:cubicBezTo>
                    <a:pt x="1449548" y="6088295"/>
                    <a:pt x="1489451" y="6138609"/>
                    <a:pt x="1530170" y="6188430"/>
                  </a:cubicBezTo>
                  <a:cubicBezTo>
                    <a:pt x="1571447" y="6238055"/>
                    <a:pt x="1613644" y="6287336"/>
                    <a:pt x="1657165" y="6335385"/>
                  </a:cubicBezTo>
                  <a:cubicBezTo>
                    <a:pt x="1744079" y="6431708"/>
                    <a:pt x="1835644" y="6524282"/>
                    <a:pt x="1931343" y="6612896"/>
                  </a:cubicBezTo>
                  <a:lnTo>
                    <a:pt x="2220133" y="6858000"/>
                  </a:lnTo>
                  <a:lnTo>
                    <a:pt x="1539862" y="6858000"/>
                  </a:lnTo>
                  <a:lnTo>
                    <a:pt x="1307111" y="6648873"/>
                  </a:lnTo>
                  <a:cubicBezTo>
                    <a:pt x="1101839" y="6448063"/>
                    <a:pt x="913180" y="6225465"/>
                    <a:pt x="750258" y="5987570"/>
                  </a:cubicBezTo>
                  <a:cubicBezTo>
                    <a:pt x="587232" y="5749281"/>
                    <a:pt x="448261" y="5494813"/>
                    <a:pt x="335382" y="5229279"/>
                  </a:cubicBezTo>
                  <a:cubicBezTo>
                    <a:pt x="222298" y="4963793"/>
                    <a:pt x="137040" y="4686652"/>
                    <a:pt x="79351" y="4403854"/>
                  </a:cubicBezTo>
                  <a:cubicBezTo>
                    <a:pt x="50150" y="4262456"/>
                    <a:pt x="29767" y="4119385"/>
                    <a:pt x="16007" y="3975723"/>
                  </a:cubicBezTo>
                  <a:cubicBezTo>
                    <a:pt x="3930" y="3831964"/>
                    <a:pt x="-2441" y="3687614"/>
                    <a:pt x="871" y="3543362"/>
                  </a:cubicBezTo>
                  <a:cubicBezTo>
                    <a:pt x="3522" y="3399160"/>
                    <a:pt x="14172" y="3255105"/>
                    <a:pt x="32519" y="3112085"/>
                  </a:cubicBezTo>
                  <a:cubicBezTo>
                    <a:pt x="50508" y="2969014"/>
                    <a:pt x="76090" y="2826925"/>
                    <a:pt x="108502" y="2686511"/>
                  </a:cubicBezTo>
                  <a:cubicBezTo>
                    <a:pt x="173019" y="2405533"/>
                    <a:pt x="263474" y="2130703"/>
                    <a:pt x="378239" y="1865955"/>
                  </a:cubicBezTo>
                  <a:cubicBezTo>
                    <a:pt x="607922" y="1336607"/>
                    <a:pt x="935706" y="848228"/>
                    <a:pt x="1343701" y="431508"/>
                  </a:cubicBezTo>
                  <a:cubicBezTo>
                    <a:pt x="1446133" y="327783"/>
                    <a:pt x="1550910" y="225926"/>
                    <a:pt x="1661853" y="130268"/>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Shape 16">
              <a:extLst>
                <a:ext uri="{FF2B5EF4-FFF2-40B4-BE49-F238E27FC236}">
                  <a16:creationId xmlns:a16="http://schemas.microsoft.com/office/drawing/2014/main" id="{6A0C77B5-3FAA-4D4F-9555-89D75160887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303402" y="3985"/>
              <a:ext cx="9767847" cy="6858000"/>
            </a:xfrm>
            <a:custGeom>
              <a:avLst/>
              <a:gdLst>
                <a:gd name="connsiteX0" fmla="*/ 7145704 w 9767847"/>
                <a:gd name="connsiteY0" fmla="*/ 0 h 6858000"/>
                <a:gd name="connsiteX1" fmla="*/ 7875738 w 9767847"/>
                <a:gd name="connsiteY1" fmla="*/ 0 h 6858000"/>
                <a:gd name="connsiteX2" fmla="*/ 7990553 w 9767847"/>
                <a:gd name="connsiteY2" fmla="*/ 85415 h 6858000"/>
                <a:gd name="connsiteX3" fmla="*/ 9767847 w 9767847"/>
                <a:gd name="connsiteY3" fmla="*/ 3653129 h 6858000"/>
                <a:gd name="connsiteX4" fmla="*/ 8652597 w 9767847"/>
                <a:gd name="connsiteY4" fmla="*/ 6594103 h 6858000"/>
                <a:gd name="connsiteX5" fmla="*/ 8399240 w 9767847"/>
                <a:gd name="connsiteY5" fmla="*/ 6858000 h 6858000"/>
                <a:gd name="connsiteX6" fmla="*/ 6766926 w 9767847"/>
                <a:gd name="connsiteY6" fmla="*/ 6858000 h 6858000"/>
                <a:gd name="connsiteX7" fmla="*/ 6804586 w 9767847"/>
                <a:gd name="connsiteY7" fmla="*/ 6821201 h 6858000"/>
                <a:gd name="connsiteX8" fmla="*/ 6881735 w 9767847"/>
                <a:gd name="connsiteY8" fmla="*/ 6745295 h 6858000"/>
                <a:gd name="connsiteX9" fmla="*/ 6958883 w 9767847"/>
                <a:gd name="connsiteY9" fmla="*/ 6668920 h 6858000"/>
                <a:gd name="connsiteX10" fmla="*/ 7267925 w 9767847"/>
                <a:gd name="connsiteY10" fmla="*/ 6359792 h 6858000"/>
                <a:gd name="connsiteX11" fmla="*/ 7424360 w 9767847"/>
                <a:gd name="connsiteY11" fmla="*/ 6204783 h 6858000"/>
                <a:gd name="connsiteX12" fmla="*/ 7504938 w 9767847"/>
                <a:gd name="connsiteY12" fmla="*/ 6126806 h 6858000"/>
                <a:gd name="connsiteX13" fmla="*/ 7546396 w 9767847"/>
                <a:gd name="connsiteY13" fmla="*/ 6087795 h 6858000"/>
                <a:gd name="connsiteX14" fmla="*/ 7588002 w 9767847"/>
                <a:gd name="connsiteY14" fmla="*/ 6049630 h 6858000"/>
                <a:gd name="connsiteX15" fmla="*/ 7631000 w 9767847"/>
                <a:gd name="connsiteY15" fmla="*/ 6010807 h 6858000"/>
                <a:gd name="connsiteX16" fmla="*/ 7675440 w 9767847"/>
                <a:gd name="connsiteY16" fmla="*/ 5972407 h 6858000"/>
                <a:gd name="connsiteX17" fmla="*/ 7720626 w 9767847"/>
                <a:gd name="connsiteY17" fmla="*/ 5934949 h 6858000"/>
                <a:gd name="connsiteX18" fmla="*/ 7766458 w 9767847"/>
                <a:gd name="connsiteY18" fmla="*/ 5898432 h 6858000"/>
                <a:gd name="connsiteX19" fmla="*/ 7955254 w 9767847"/>
                <a:gd name="connsiteY19" fmla="*/ 5760926 h 6858000"/>
                <a:gd name="connsiteX20" fmla="*/ 8352678 w 9767847"/>
                <a:gd name="connsiteY20" fmla="*/ 5521728 h 6858000"/>
                <a:gd name="connsiteX21" fmla="*/ 8451350 w 9767847"/>
                <a:gd name="connsiteY21" fmla="*/ 5469352 h 6858000"/>
                <a:gd name="connsiteX22" fmla="*/ 8548532 w 9767847"/>
                <a:gd name="connsiteY22" fmla="*/ 5417493 h 6858000"/>
                <a:gd name="connsiteX23" fmla="*/ 8729473 w 9767847"/>
                <a:gd name="connsiteY23" fmla="*/ 5314059 h 6858000"/>
                <a:gd name="connsiteX24" fmla="*/ 8770781 w 9767847"/>
                <a:gd name="connsiteY24" fmla="*/ 5287330 h 6858000"/>
                <a:gd name="connsiteX25" fmla="*/ 8790964 w 9767847"/>
                <a:gd name="connsiteY25" fmla="*/ 5273590 h 6858000"/>
                <a:gd name="connsiteX26" fmla="*/ 8810499 w 9767847"/>
                <a:gd name="connsiteY26" fmla="*/ 5259801 h 6858000"/>
                <a:gd name="connsiteX27" fmla="*/ 8883571 w 9767847"/>
                <a:gd name="connsiteY27" fmla="*/ 5202577 h 6858000"/>
                <a:gd name="connsiteX28" fmla="*/ 9006651 w 9767847"/>
                <a:gd name="connsiteY28" fmla="*/ 5074625 h 6858000"/>
                <a:gd name="connsiteX29" fmla="*/ 9033494 w 9767847"/>
                <a:gd name="connsiteY29" fmla="*/ 5038203 h 6858000"/>
                <a:gd name="connsiteX30" fmla="*/ 9040305 w 9767847"/>
                <a:gd name="connsiteY30" fmla="*/ 5028649 h 6858000"/>
                <a:gd name="connsiteX31" fmla="*/ 9046568 w 9767847"/>
                <a:gd name="connsiteY31" fmla="*/ 5019379 h 6858000"/>
                <a:gd name="connsiteX32" fmla="*/ 9058846 w 9767847"/>
                <a:gd name="connsiteY32" fmla="*/ 5000743 h 6858000"/>
                <a:gd name="connsiteX33" fmla="*/ 9104529 w 9767847"/>
                <a:gd name="connsiteY33" fmla="*/ 4922203 h 6858000"/>
                <a:gd name="connsiteX34" fmla="*/ 9181081 w 9767847"/>
                <a:gd name="connsiteY34" fmla="*/ 4748792 h 6858000"/>
                <a:gd name="connsiteX35" fmla="*/ 9240731 w 9767847"/>
                <a:gd name="connsiteY35" fmla="*/ 4561970 h 6858000"/>
                <a:gd name="connsiteX36" fmla="*/ 9265388 w 9767847"/>
                <a:gd name="connsiteY36" fmla="*/ 4465171 h 6858000"/>
                <a:gd name="connsiteX37" fmla="*/ 9276571 w 9767847"/>
                <a:gd name="connsiteY37" fmla="*/ 4416041 h 6858000"/>
                <a:gd name="connsiteX38" fmla="*/ 9281841 w 9767847"/>
                <a:gd name="connsiteY38" fmla="*/ 4391477 h 6858000"/>
                <a:gd name="connsiteX39" fmla="*/ 9286513 w 9767847"/>
                <a:gd name="connsiteY39" fmla="*/ 4368936 h 6858000"/>
                <a:gd name="connsiteX40" fmla="*/ 9296754 w 9767847"/>
                <a:gd name="connsiteY40" fmla="*/ 4316136 h 6858000"/>
                <a:gd name="connsiteX41" fmla="*/ 9301029 w 9767847"/>
                <a:gd name="connsiteY41" fmla="*/ 4293172 h 6858000"/>
                <a:gd name="connsiteX42" fmla="*/ 9302818 w 9767847"/>
                <a:gd name="connsiteY42" fmla="*/ 4282679 h 6858000"/>
                <a:gd name="connsiteX43" fmla="*/ 9304658 w 9767847"/>
                <a:gd name="connsiteY43" fmla="*/ 4270914 h 6858000"/>
                <a:gd name="connsiteX44" fmla="*/ 9312810 w 9767847"/>
                <a:gd name="connsiteY44" fmla="*/ 4220043 h 6858000"/>
                <a:gd name="connsiteX45" fmla="*/ 9316887 w 9767847"/>
                <a:gd name="connsiteY45" fmla="*/ 4194584 h 6858000"/>
                <a:gd name="connsiteX46" fmla="*/ 9318923 w 9767847"/>
                <a:gd name="connsiteY46" fmla="*/ 4181878 h 6858000"/>
                <a:gd name="connsiteX47" fmla="*/ 9320515 w 9767847"/>
                <a:gd name="connsiteY47" fmla="*/ 4168984 h 6858000"/>
                <a:gd name="connsiteX48" fmla="*/ 9332445 w 9767847"/>
                <a:gd name="connsiteY48" fmla="*/ 4069079 h 6858000"/>
                <a:gd name="connsiteX49" fmla="*/ 9336173 w 9767847"/>
                <a:gd name="connsiteY49" fmla="*/ 4022774 h 6858000"/>
                <a:gd name="connsiteX50" fmla="*/ 9340199 w 9767847"/>
                <a:gd name="connsiteY50" fmla="*/ 3969269 h 6858000"/>
                <a:gd name="connsiteX51" fmla="*/ 9347557 w 9767847"/>
                <a:gd name="connsiteY51" fmla="*/ 3770070 h 6858000"/>
                <a:gd name="connsiteX52" fmla="*/ 9346364 w 9767847"/>
                <a:gd name="connsiteY52" fmla="*/ 3669036 h 6858000"/>
                <a:gd name="connsiteX53" fmla="*/ 9344921 w 9767847"/>
                <a:gd name="connsiteY53" fmla="*/ 3619341 h 6858000"/>
                <a:gd name="connsiteX54" fmla="*/ 9344524 w 9767847"/>
                <a:gd name="connsiteY54" fmla="*/ 3607624 h 6858000"/>
                <a:gd name="connsiteX55" fmla="*/ 9343728 w 9767847"/>
                <a:gd name="connsiteY55" fmla="*/ 3594872 h 6858000"/>
                <a:gd name="connsiteX56" fmla="*/ 9342188 w 9767847"/>
                <a:gd name="connsiteY56" fmla="*/ 3569366 h 6858000"/>
                <a:gd name="connsiteX57" fmla="*/ 9339056 w 9767847"/>
                <a:gd name="connsiteY57" fmla="*/ 3518354 h 6858000"/>
                <a:gd name="connsiteX58" fmla="*/ 9334334 w 9767847"/>
                <a:gd name="connsiteY58" fmla="*/ 3467155 h 6858000"/>
                <a:gd name="connsiteX59" fmla="*/ 9329363 w 9767847"/>
                <a:gd name="connsiteY59" fmla="*/ 3415908 h 6858000"/>
                <a:gd name="connsiteX60" fmla="*/ 9328319 w 9767847"/>
                <a:gd name="connsiteY60" fmla="*/ 3404755 h 6858000"/>
                <a:gd name="connsiteX61" fmla="*/ 9327177 w 9767847"/>
                <a:gd name="connsiteY61" fmla="*/ 3394214 h 6858000"/>
                <a:gd name="connsiteX62" fmla="*/ 9324293 w 9767847"/>
                <a:gd name="connsiteY62" fmla="*/ 3370872 h 6858000"/>
                <a:gd name="connsiteX63" fmla="*/ 9320763 w 9767847"/>
                <a:gd name="connsiteY63" fmla="*/ 3344427 h 6858000"/>
                <a:gd name="connsiteX64" fmla="*/ 9317184 w 9767847"/>
                <a:gd name="connsiteY64" fmla="*/ 3315343 h 6858000"/>
                <a:gd name="connsiteX65" fmla="*/ 9311021 w 9767847"/>
                <a:gd name="connsiteY65" fmla="*/ 3270309 h 6858000"/>
                <a:gd name="connsiteX66" fmla="*/ 9302719 w 9767847"/>
                <a:gd name="connsiteY66" fmla="*/ 3219815 h 6858000"/>
                <a:gd name="connsiteX67" fmla="*/ 9293970 w 9767847"/>
                <a:gd name="connsiteY67" fmla="*/ 3169887 h 6858000"/>
                <a:gd name="connsiteX68" fmla="*/ 9252065 w 9767847"/>
                <a:gd name="connsiteY68" fmla="*/ 2971205 h 6858000"/>
                <a:gd name="connsiteX69" fmla="*/ 9227211 w 9767847"/>
                <a:gd name="connsiteY69" fmla="*/ 2872571 h 6858000"/>
                <a:gd name="connsiteX70" fmla="*/ 9220699 w 9767847"/>
                <a:gd name="connsiteY70" fmla="*/ 2848524 h 6858000"/>
                <a:gd name="connsiteX71" fmla="*/ 9213740 w 9767847"/>
                <a:gd name="connsiteY71" fmla="*/ 2824289 h 6858000"/>
                <a:gd name="connsiteX72" fmla="*/ 9199374 w 9767847"/>
                <a:gd name="connsiteY72" fmla="*/ 2775536 h 6858000"/>
                <a:gd name="connsiteX73" fmla="*/ 9061829 w 9767847"/>
                <a:gd name="connsiteY73" fmla="*/ 2389515 h 6858000"/>
                <a:gd name="connsiteX74" fmla="*/ 8978865 w 9767847"/>
                <a:gd name="connsiteY74" fmla="*/ 2200953 h 6858000"/>
                <a:gd name="connsiteX75" fmla="*/ 8956694 w 9767847"/>
                <a:gd name="connsiteY75" fmla="*/ 2154317 h 6858000"/>
                <a:gd name="connsiteX76" fmla="*/ 8934176 w 9767847"/>
                <a:gd name="connsiteY76" fmla="*/ 2108012 h 6858000"/>
                <a:gd name="connsiteX77" fmla="*/ 8887151 w 9767847"/>
                <a:gd name="connsiteY77" fmla="*/ 2015448 h 6858000"/>
                <a:gd name="connsiteX78" fmla="*/ 8787533 w 9767847"/>
                <a:gd name="connsiteY78" fmla="*/ 1832625 h 6858000"/>
                <a:gd name="connsiteX79" fmla="*/ 8761485 w 9767847"/>
                <a:gd name="connsiteY79" fmla="*/ 1787496 h 6858000"/>
                <a:gd name="connsiteX80" fmla="*/ 8734791 w 9767847"/>
                <a:gd name="connsiteY80" fmla="*/ 1741991 h 6858000"/>
                <a:gd name="connsiteX81" fmla="*/ 8680808 w 9767847"/>
                <a:gd name="connsiteY81" fmla="*/ 1652910 h 6858000"/>
                <a:gd name="connsiteX82" fmla="*/ 8567024 w 9767847"/>
                <a:gd name="connsiteY82" fmla="*/ 1477004 h 6858000"/>
                <a:gd name="connsiteX83" fmla="*/ 8537446 w 9767847"/>
                <a:gd name="connsiteY83" fmla="*/ 1433428 h 6858000"/>
                <a:gd name="connsiteX84" fmla="*/ 8507423 w 9767847"/>
                <a:gd name="connsiteY84" fmla="*/ 1389994 h 6858000"/>
                <a:gd name="connsiteX85" fmla="*/ 8446529 w 9767847"/>
                <a:gd name="connsiteY85" fmla="*/ 1304393 h 6858000"/>
                <a:gd name="connsiteX86" fmla="*/ 8319224 w 9767847"/>
                <a:gd name="connsiteY86" fmla="*/ 1135124 h 6858000"/>
                <a:gd name="connsiteX87" fmla="*/ 8286366 w 9767847"/>
                <a:gd name="connsiteY87" fmla="*/ 1093148 h 6858000"/>
                <a:gd name="connsiteX88" fmla="*/ 8270161 w 9767847"/>
                <a:gd name="connsiteY88" fmla="*/ 1072538 h 6858000"/>
                <a:gd name="connsiteX89" fmla="*/ 8253856 w 9767847"/>
                <a:gd name="connsiteY89" fmla="*/ 1052254 h 6858000"/>
                <a:gd name="connsiteX90" fmla="*/ 8186352 w 9767847"/>
                <a:gd name="connsiteY90" fmla="*/ 970373 h 6858000"/>
                <a:gd name="connsiteX91" fmla="*/ 8046768 w 9767847"/>
                <a:gd name="connsiteY91" fmla="*/ 809527 h 6858000"/>
                <a:gd name="connsiteX92" fmla="*/ 8010927 w 9767847"/>
                <a:gd name="connsiteY92" fmla="*/ 769951 h 6858000"/>
                <a:gd name="connsiteX93" fmla="*/ 7974788 w 9767847"/>
                <a:gd name="connsiteY93" fmla="*/ 730751 h 6858000"/>
                <a:gd name="connsiteX94" fmla="*/ 7901070 w 9767847"/>
                <a:gd name="connsiteY94" fmla="*/ 652823 h 6858000"/>
                <a:gd name="connsiteX95" fmla="*/ 7750054 w 9767847"/>
                <a:gd name="connsiteY95" fmla="*/ 501106 h 6858000"/>
                <a:gd name="connsiteX96" fmla="*/ 7592277 w 9767847"/>
                <a:gd name="connsiteY96" fmla="*/ 355319 h 6858000"/>
                <a:gd name="connsiteX97" fmla="*/ 7257734 w 9767847"/>
                <a:gd name="connsiteY97" fmla="*/ 81062 h 6858000"/>
                <a:gd name="connsiteX98" fmla="*/ 1892109 w 9767847"/>
                <a:gd name="connsiteY98" fmla="*/ 0 h 6858000"/>
                <a:gd name="connsiteX99" fmla="*/ 2298402 w 9767847"/>
                <a:gd name="connsiteY99" fmla="*/ 0 h 6858000"/>
                <a:gd name="connsiteX100" fmla="*/ 2135542 w 9767847"/>
                <a:gd name="connsiteY100" fmla="*/ 121879 h 6858000"/>
                <a:gd name="connsiteX101" fmla="*/ 1969576 w 9767847"/>
                <a:gd name="connsiteY101" fmla="*/ 259084 h 6858000"/>
                <a:gd name="connsiteX102" fmla="*/ 1659938 w 9767847"/>
                <a:gd name="connsiteY102" fmla="*/ 553953 h 6858000"/>
                <a:gd name="connsiteX103" fmla="*/ 729383 w 9767847"/>
                <a:gd name="connsiteY103" fmla="*/ 1940578 h 6858000"/>
                <a:gd name="connsiteX104" fmla="*/ 578465 w 9767847"/>
                <a:gd name="connsiteY104" fmla="*/ 2324905 h 6858000"/>
                <a:gd name="connsiteX105" fmla="*/ 465080 w 9767847"/>
                <a:gd name="connsiteY105" fmla="*/ 2718973 h 6858000"/>
                <a:gd name="connsiteX106" fmla="*/ 423820 w 9767847"/>
                <a:gd name="connsiteY106" fmla="*/ 2919535 h 6858000"/>
                <a:gd name="connsiteX107" fmla="*/ 392355 w 9767847"/>
                <a:gd name="connsiteY107" fmla="*/ 3122169 h 6858000"/>
                <a:gd name="connsiteX108" fmla="*/ 358801 w 9767847"/>
                <a:gd name="connsiteY108" fmla="*/ 3531013 h 6858000"/>
                <a:gd name="connsiteX109" fmla="*/ 410350 w 9767847"/>
                <a:gd name="connsiteY109" fmla="*/ 4352324 h 6858000"/>
                <a:gd name="connsiteX110" fmla="*/ 449022 w 9767847"/>
                <a:gd name="connsiteY110" fmla="*/ 4555147 h 6858000"/>
                <a:gd name="connsiteX111" fmla="*/ 498882 w 9767847"/>
                <a:gd name="connsiteY111" fmla="*/ 4756463 h 6858000"/>
                <a:gd name="connsiteX112" fmla="*/ 559775 w 9767847"/>
                <a:gd name="connsiteY112" fmla="*/ 4955755 h 6858000"/>
                <a:gd name="connsiteX113" fmla="*/ 631406 w 9767847"/>
                <a:gd name="connsiteY113" fmla="*/ 5152084 h 6858000"/>
                <a:gd name="connsiteX114" fmla="*/ 1023461 w 9767847"/>
                <a:gd name="connsiteY114" fmla="*/ 5898055 h 6858000"/>
                <a:gd name="connsiteX115" fmla="*/ 1575880 w 9767847"/>
                <a:gd name="connsiteY115" fmla="*/ 6551744 h 6858000"/>
                <a:gd name="connsiteX116" fmla="*/ 1905228 w 9767847"/>
                <a:gd name="connsiteY116" fmla="*/ 6833566 h 6858000"/>
                <a:gd name="connsiteX117" fmla="*/ 1938629 w 9767847"/>
                <a:gd name="connsiteY117" fmla="*/ 6858000 h 6858000"/>
                <a:gd name="connsiteX118" fmla="*/ 1368607 w 9767847"/>
                <a:gd name="connsiteY118" fmla="*/ 6858000 h 6858000"/>
                <a:gd name="connsiteX119" fmla="*/ 1115251 w 9767847"/>
                <a:gd name="connsiteY119" fmla="*/ 6594103 h 6858000"/>
                <a:gd name="connsiteX120" fmla="*/ 0 w 9767847"/>
                <a:gd name="connsiteY120" fmla="*/ 3653129 h 6858000"/>
                <a:gd name="connsiteX121" fmla="*/ 1777294 w 9767847"/>
                <a:gd name="connsiteY121" fmla="*/ 8541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9767847" h="6858000">
                  <a:moveTo>
                    <a:pt x="7145704" y="0"/>
                  </a:moveTo>
                  <a:lnTo>
                    <a:pt x="7875738" y="0"/>
                  </a:lnTo>
                  <a:lnTo>
                    <a:pt x="7990553" y="85415"/>
                  </a:lnTo>
                  <a:cubicBezTo>
                    <a:pt x="9075991" y="933432"/>
                    <a:pt x="9767847" y="2216793"/>
                    <a:pt x="9767847" y="3653129"/>
                  </a:cubicBezTo>
                  <a:cubicBezTo>
                    <a:pt x="9767847" y="4770280"/>
                    <a:pt x="9349317" y="5794890"/>
                    <a:pt x="8652597" y="6594103"/>
                  </a:cubicBezTo>
                  <a:lnTo>
                    <a:pt x="8399240" y="6858000"/>
                  </a:lnTo>
                  <a:lnTo>
                    <a:pt x="6766926" y="6858000"/>
                  </a:lnTo>
                  <a:lnTo>
                    <a:pt x="6804586" y="6821201"/>
                  </a:lnTo>
                  <a:lnTo>
                    <a:pt x="6881735" y="6745295"/>
                  </a:lnTo>
                  <a:cubicBezTo>
                    <a:pt x="6907435" y="6719979"/>
                    <a:pt x="6933134" y="6694896"/>
                    <a:pt x="6958883" y="6668920"/>
                  </a:cubicBezTo>
                  <a:lnTo>
                    <a:pt x="7267925" y="6359792"/>
                  </a:lnTo>
                  <a:lnTo>
                    <a:pt x="7424360" y="6204783"/>
                  </a:lnTo>
                  <a:cubicBezTo>
                    <a:pt x="7450754" y="6178900"/>
                    <a:pt x="7477598" y="6152829"/>
                    <a:pt x="7504938" y="6126806"/>
                  </a:cubicBezTo>
                  <a:lnTo>
                    <a:pt x="7546396" y="6087795"/>
                  </a:lnTo>
                  <a:cubicBezTo>
                    <a:pt x="7560264" y="6074901"/>
                    <a:pt x="7574780" y="6061630"/>
                    <a:pt x="7588002" y="6049630"/>
                  </a:cubicBezTo>
                  <a:lnTo>
                    <a:pt x="7631000" y="6010807"/>
                  </a:lnTo>
                  <a:lnTo>
                    <a:pt x="7675440" y="5972407"/>
                  </a:lnTo>
                  <a:cubicBezTo>
                    <a:pt x="7690404" y="5959796"/>
                    <a:pt x="7705564" y="5947419"/>
                    <a:pt x="7720626" y="5934949"/>
                  </a:cubicBezTo>
                  <a:cubicBezTo>
                    <a:pt x="7735738" y="5922525"/>
                    <a:pt x="7751197" y="5910619"/>
                    <a:pt x="7766458" y="5898432"/>
                  </a:cubicBezTo>
                  <a:cubicBezTo>
                    <a:pt x="7827949" y="5850290"/>
                    <a:pt x="7890979" y="5804597"/>
                    <a:pt x="7955254" y="5760926"/>
                  </a:cubicBezTo>
                  <a:cubicBezTo>
                    <a:pt x="8083800" y="5673632"/>
                    <a:pt x="8216872" y="5594434"/>
                    <a:pt x="8352678" y="5521728"/>
                  </a:cubicBezTo>
                  <a:lnTo>
                    <a:pt x="8451350" y="5469352"/>
                  </a:lnTo>
                  <a:lnTo>
                    <a:pt x="8548532" y="5417493"/>
                  </a:lnTo>
                  <a:cubicBezTo>
                    <a:pt x="8612110" y="5383188"/>
                    <a:pt x="8673251" y="5349306"/>
                    <a:pt x="8729473" y="5314059"/>
                  </a:cubicBezTo>
                  <a:cubicBezTo>
                    <a:pt x="8743591" y="5305213"/>
                    <a:pt x="8757161" y="5296459"/>
                    <a:pt x="8770781" y="5287330"/>
                  </a:cubicBezTo>
                  <a:cubicBezTo>
                    <a:pt x="8777591" y="5282765"/>
                    <a:pt x="8784451" y="5278201"/>
                    <a:pt x="8790964" y="5273590"/>
                  </a:cubicBezTo>
                  <a:cubicBezTo>
                    <a:pt x="8797574" y="5268977"/>
                    <a:pt x="8804235" y="5264412"/>
                    <a:pt x="8810499" y="5259801"/>
                  </a:cubicBezTo>
                  <a:cubicBezTo>
                    <a:pt x="8835999" y="5241401"/>
                    <a:pt x="8860407" y="5222389"/>
                    <a:pt x="8883571" y="5202577"/>
                  </a:cubicBezTo>
                  <a:cubicBezTo>
                    <a:pt x="8929900" y="5162954"/>
                    <a:pt x="8971258" y="5120413"/>
                    <a:pt x="9006651" y="5074625"/>
                  </a:cubicBezTo>
                  <a:cubicBezTo>
                    <a:pt x="9015351" y="5063426"/>
                    <a:pt x="9024398" y="5050955"/>
                    <a:pt x="9033494" y="5038203"/>
                  </a:cubicBezTo>
                  <a:lnTo>
                    <a:pt x="9040305" y="5028649"/>
                  </a:lnTo>
                  <a:lnTo>
                    <a:pt x="9046568" y="5019379"/>
                  </a:lnTo>
                  <a:cubicBezTo>
                    <a:pt x="9050743" y="5013261"/>
                    <a:pt x="9054819" y="5007050"/>
                    <a:pt x="9058846" y="5000743"/>
                  </a:cubicBezTo>
                  <a:cubicBezTo>
                    <a:pt x="9075002" y="4975615"/>
                    <a:pt x="9090212" y="4949403"/>
                    <a:pt x="9104529" y="4922203"/>
                  </a:cubicBezTo>
                  <a:cubicBezTo>
                    <a:pt x="9133211" y="4867850"/>
                    <a:pt x="9158313" y="4809545"/>
                    <a:pt x="9181081" y="4748792"/>
                  </a:cubicBezTo>
                  <a:cubicBezTo>
                    <a:pt x="9203748" y="4688276"/>
                    <a:pt x="9223383" y="4625876"/>
                    <a:pt x="9240731" y="4561970"/>
                  </a:cubicBezTo>
                  <a:cubicBezTo>
                    <a:pt x="9249481" y="4530064"/>
                    <a:pt x="9257682" y="4497782"/>
                    <a:pt x="9265388" y="4465171"/>
                  </a:cubicBezTo>
                  <a:cubicBezTo>
                    <a:pt x="9269215" y="4448842"/>
                    <a:pt x="9272943" y="4432465"/>
                    <a:pt x="9276571" y="4416041"/>
                  </a:cubicBezTo>
                  <a:lnTo>
                    <a:pt x="9281841" y="4391477"/>
                  </a:lnTo>
                  <a:lnTo>
                    <a:pt x="9286513" y="4368936"/>
                  </a:lnTo>
                  <a:lnTo>
                    <a:pt x="9296754" y="4316136"/>
                  </a:lnTo>
                  <a:lnTo>
                    <a:pt x="9301029" y="4293172"/>
                  </a:lnTo>
                  <a:lnTo>
                    <a:pt x="9302818" y="4282679"/>
                  </a:lnTo>
                  <a:lnTo>
                    <a:pt x="9304658" y="4270914"/>
                  </a:lnTo>
                  <a:lnTo>
                    <a:pt x="9312810" y="4220043"/>
                  </a:lnTo>
                  <a:lnTo>
                    <a:pt x="9316887" y="4194584"/>
                  </a:lnTo>
                  <a:lnTo>
                    <a:pt x="9318923" y="4181878"/>
                  </a:lnTo>
                  <a:cubicBezTo>
                    <a:pt x="9319570" y="4177644"/>
                    <a:pt x="9319969" y="4173267"/>
                    <a:pt x="9320515" y="4168984"/>
                  </a:cubicBezTo>
                  <a:lnTo>
                    <a:pt x="9332445" y="4069079"/>
                  </a:lnTo>
                  <a:cubicBezTo>
                    <a:pt x="9333836" y="4056468"/>
                    <a:pt x="9334880" y="4040986"/>
                    <a:pt x="9336173" y="4022774"/>
                  </a:cubicBezTo>
                  <a:lnTo>
                    <a:pt x="9340199" y="3969269"/>
                  </a:lnTo>
                  <a:cubicBezTo>
                    <a:pt x="9345071" y="3903904"/>
                    <a:pt x="9347358" y="3837081"/>
                    <a:pt x="9347557" y="3770070"/>
                  </a:cubicBezTo>
                  <a:cubicBezTo>
                    <a:pt x="9347656" y="3736518"/>
                    <a:pt x="9347209" y="3702871"/>
                    <a:pt x="9346364" y="3669036"/>
                  </a:cubicBezTo>
                  <a:lnTo>
                    <a:pt x="9344921" y="3619341"/>
                  </a:lnTo>
                  <a:lnTo>
                    <a:pt x="9344524" y="3607624"/>
                  </a:lnTo>
                  <a:lnTo>
                    <a:pt x="9343728" y="3594872"/>
                  </a:lnTo>
                  <a:lnTo>
                    <a:pt x="9342188" y="3569366"/>
                  </a:lnTo>
                  <a:lnTo>
                    <a:pt x="9339056" y="3518354"/>
                  </a:lnTo>
                  <a:cubicBezTo>
                    <a:pt x="9337914" y="3501319"/>
                    <a:pt x="9335874" y="3484236"/>
                    <a:pt x="9334334" y="3467155"/>
                  </a:cubicBezTo>
                  <a:lnTo>
                    <a:pt x="9329363" y="3415908"/>
                  </a:lnTo>
                  <a:lnTo>
                    <a:pt x="9328319" y="3404755"/>
                  </a:lnTo>
                  <a:lnTo>
                    <a:pt x="9327177" y="3394214"/>
                  </a:lnTo>
                  <a:lnTo>
                    <a:pt x="9324293" y="3370872"/>
                  </a:lnTo>
                  <a:lnTo>
                    <a:pt x="9320763" y="3344427"/>
                  </a:lnTo>
                  <a:lnTo>
                    <a:pt x="9317184" y="3315343"/>
                  </a:lnTo>
                  <a:cubicBezTo>
                    <a:pt x="9315594" y="3300991"/>
                    <a:pt x="9313506" y="3286404"/>
                    <a:pt x="9311021" y="3270309"/>
                  </a:cubicBezTo>
                  <a:lnTo>
                    <a:pt x="9302719" y="3219815"/>
                  </a:lnTo>
                  <a:cubicBezTo>
                    <a:pt x="9299936" y="3203157"/>
                    <a:pt x="9297003" y="3186498"/>
                    <a:pt x="9293970" y="3169887"/>
                  </a:cubicBezTo>
                  <a:cubicBezTo>
                    <a:pt x="9281891" y="3103393"/>
                    <a:pt x="9267674" y="3037182"/>
                    <a:pt x="9252065" y="2971205"/>
                  </a:cubicBezTo>
                  <a:cubicBezTo>
                    <a:pt x="9244261" y="2938265"/>
                    <a:pt x="9235959" y="2905371"/>
                    <a:pt x="9227211" y="2872571"/>
                  </a:cubicBezTo>
                  <a:lnTo>
                    <a:pt x="9220699" y="2848524"/>
                  </a:lnTo>
                  <a:lnTo>
                    <a:pt x="9213740" y="2824289"/>
                  </a:lnTo>
                  <a:cubicBezTo>
                    <a:pt x="9209216" y="2808147"/>
                    <a:pt x="9204345" y="2791866"/>
                    <a:pt x="9199374" y="2775536"/>
                  </a:cubicBezTo>
                  <a:cubicBezTo>
                    <a:pt x="9159855" y="2645184"/>
                    <a:pt x="9114272" y="2516197"/>
                    <a:pt x="9061829" y="2389515"/>
                  </a:cubicBezTo>
                  <a:cubicBezTo>
                    <a:pt x="9035582" y="2326175"/>
                    <a:pt x="9008043" y="2263258"/>
                    <a:pt x="8978865" y="2200953"/>
                  </a:cubicBezTo>
                  <a:lnTo>
                    <a:pt x="8956694" y="2154317"/>
                  </a:lnTo>
                  <a:lnTo>
                    <a:pt x="8934176" y="2108012"/>
                  </a:lnTo>
                  <a:cubicBezTo>
                    <a:pt x="8918915" y="2077189"/>
                    <a:pt x="8903157" y="2046130"/>
                    <a:pt x="8887151" y="2015448"/>
                  </a:cubicBezTo>
                  <a:cubicBezTo>
                    <a:pt x="8854988" y="1953989"/>
                    <a:pt x="8822082" y="1892908"/>
                    <a:pt x="8787533" y="1832625"/>
                  </a:cubicBezTo>
                  <a:lnTo>
                    <a:pt x="8761485" y="1787496"/>
                  </a:lnTo>
                  <a:lnTo>
                    <a:pt x="8734791" y="1741991"/>
                  </a:lnTo>
                  <a:cubicBezTo>
                    <a:pt x="8717047" y="1711921"/>
                    <a:pt x="8699200" y="1682461"/>
                    <a:pt x="8680808" y="1652910"/>
                  </a:cubicBezTo>
                  <a:cubicBezTo>
                    <a:pt x="8644322" y="1593756"/>
                    <a:pt x="8606194" y="1535216"/>
                    <a:pt x="8567024" y="1477004"/>
                  </a:cubicBezTo>
                  <a:lnTo>
                    <a:pt x="8537446" y="1433428"/>
                  </a:lnTo>
                  <a:lnTo>
                    <a:pt x="8507423" y="1389994"/>
                  </a:lnTo>
                  <a:cubicBezTo>
                    <a:pt x="8487390" y="1361382"/>
                    <a:pt x="8467158" y="1332817"/>
                    <a:pt x="8446529" y="1304393"/>
                  </a:cubicBezTo>
                  <a:cubicBezTo>
                    <a:pt x="8405271" y="1247595"/>
                    <a:pt x="8362718" y="1191218"/>
                    <a:pt x="8319224" y="1135124"/>
                  </a:cubicBezTo>
                  <a:lnTo>
                    <a:pt x="8286366" y="1093148"/>
                  </a:lnTo>
                  <a:lnTo>
                    <a:pt x="8270161" y="1072538"/>
                  </a:lnTo>
                  <a:lnTo>
                    <a:pt x="8253856" y="1052254"/>
                  </a:lnTo>
                  <a:cubicBezTo>
                    <a:pt x="8231636" y="1024773"/>
                    <a:pt x="8209117" y="997479"/>
                    <a:pt x="8186352" y="970373"/>
                  </a:cubicBezTo>
                  <a:cubicBezTo>
                    <a:pt x="8140917" y="916020"/>
                    <a:pt x="8094240" y="862515"/>
                    <a:pt x="8046768" y="809527"/>
                  </a:cubicBezTo>
                  <a:lnTo>
                    <a:pt x="8010927" y="769951"/>
                  </a:lnTo>
                  <a:lnTo>
                    <a:pt x="7974788" y="730751"/>
                  </a:lnTo>
                  <a:cubicBezTo>
                    <a:pt x="7950382" y="704587"/>
                    <a:pt x="7925824" y="678563"/>
                    <a:pt x="7901070" y="652823"/>
                  </a:cubicBezTo>
                  <a:cubicBezTo>
                    <a:pt x="7851510" y="601387"/>
                    <a:pt x="7801404" y="550612"/>
                    <a:pt x="7750054" y="501106"/>
                  </a:cubicBezTo>
                  <a:cubicBezTo>
                    <a:pt x="7698902" y="451742"/>
                    <a:pt x="7645913" y="403036"/>
                    <a:pt x="7592277" y="355319"/>
                  </a:cubicBezTo>
                  <a:cubicBezTo>
                    <a:pt x="7484856" y="259884"/>
                    <a:pt x="7373308" y="168402"/>
                    <a:pt x="7257734" y="81062"/>
                  </a:cubicBezTo>
                  <a:close/>
                  <a:moveTo>
                    <a:pt x="1892109" y="0"/>
                  </a:moveTo>
                  <a:lnTo>
                    <a:pt x="2298402" y="0"/>
                  </a:lnTo>
                  <a:lnTo>
                    <a:pt x="2135542" y="121879"/>
                  </a:lnTo>
                  <a:cubicBezTo>
                    <a:pt x="2078998" y="166378"/>
                    <a:pt x="2023659" y="212143"/>
                    <a:pt x="1969576" y="259084"/>
                  </a:cubicBezTo>
                  <a:cubicBezTo>
                    <a:pt x="1861309" y="352918"/>
                    <a:pt x="1758064" y="451412"/>
                    <a:pt x="1659938" y="553953"/>
                  </a:cubicBezTo>
                  <a:cubicBezTo>
                    <a:pt x="1266987" y="964444"/>
                    <a:pt x="953820" y="1435593"/>
                    <a:pt x="729383" y="1940578"/>
                  </a:cubicBezTo>
                  <a:cubicBezTo>
                    <a:pt x="673260" y="2066459"/>
                    <a:pt x="622855" y="2195070"/>
                    <a:pt x="578465" y="2324905"/>
                  </a:cubicBezTo>
                  <a:cubicBezTo>
                    <a:pt x="534125" y="2454785"/>
                    <a:pt x="496147" y="2586314"/>
                    <a:pt x="465080" y="2718973"/>
                  </a:cubicBezTo>
                  <a:cubicBezTo>
                    <a:pt x="449769" y="2785089"/>
                    <a:pt x="435850" y="2852289"/>
                    <a:pt x="423820" y="2919535"/>
                  </a:cubicBezTo>
                  <a:cubicBezTo>
                    <a:pt x="411840" y="2986829"/>
                    <a:pt x="401054" y="3054358"/>
                    <a:pt x="392355" y="3122169"/>
                  </a:cubicBezTo>
                  <a:cubicBezTo>
                    <a:pt x="374509" y="3257744"/>
                    <a:pt x="363424" y="3393978"/>
                    <a:pt x="358801" y="3531013"/>
                  </a:cubicBezTo>
                  <a:cubicBezTo>
                    <a:pt x="349009" y="3804941"/>
                    <a:pt x="366357" y="4079668"/>
                    <a:pt x="410350" y="4352324"/>
                  </a:cubicBezTo>
                  <a:cubicBezTo>
                    <a:pt x="421286" y="4420230"/>
                    <a:pt x="434209" y="4487758"/>
                    <a:pt x="449022" y="4555147"/>
                  </a:cubicBezTo>
                  <a:cubicBezTo>
                    <a:pt x="463737" y="4622534"/>
                    <a:pt x="480389" y="4689686"/>
                    <a:pt x="498882" y="4756463"/>
                  </a:cubicBezTo>
                  <a:cubicBezTo>
                    <a:pt x="517373" y="4823239"/>
                    <a:pt x="537704" y="4889733"/>
                    <a:pt x="559775" y="4955755"/>
                  </a:cubicBezTo>
                  <a:cubicBezTo>
                    <a:pt x="581946" y="5021873"/>
                    <a:pt x="605358" y="5087473"/>
                    <a:pt x="631406" y="5152084"/>
                  </a:cubicBezTo>
                  <a:cubicBezTo>
                    <a:pt x="734055" y="5411706"/>
                    <a:pt x="865188" y="5662668"/>
                    <a:pt x="1023461" y="5898055"/>
                  </a:cubicBezTo>
                  <a:cubicBezTo>
                    <a:pt x="1181487" y="6133676"/>
                    <a:pt x="1367051" y="6353345"/>
                    <a:pt x="1575880" y="6551744"/>
                  </a:cubicBezTo>
                  <a:cubicBezTo>
                    <a:pt x="1680269" y="6651014"/>
                    <a:pt x="1790338" y="6745037"/>
                    <a:pt x="1905228" y="6833566"/>
                  </a:cubicBezTo>
                  <a:lnTo>
                    <a:pt x="1938629" y="6858000"/>
                  </a:lnTo>
                  <a:lnTo>
                    <a:pt x="1368607" y="6858000"/>
                  </a:lnTo>
                  <a:lnTo>
                    <a:pt x="1115251" y="6594103"/>
                  </a:lnTo>
                  <a:cubicBezTo>
                    <a:pt x="418530" y="5794890"/>
                    <a:pt x="0" y="4770280"/>
                    <a:pt x="0" y="3653129"/>
                  </a:cubicBezTo>
                  <a:cubicBezTo>
                    <a:pt x="0" y="2216793"/>
                    <a:pt x="691856" y="933432"/>
                    <a:pt x="1777294" y="85415"/>
                  </a:cubicBezTo>
                  <a:close/>
                </a:path>
              </a:pathLst>
            </a:custGeom>
            <a:solidFill>
              <a:schemeClr val="bg1">
                <a:alpha val="5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endParaRPr>
            </a:p>
          </p:txBody>
        </p:sp>
        <p:sp>
          <p:nvSpPr>
            <p:cNvPr id="18" name="Freeform: Shape 17">
              <a:extLst>
                <a:ext uri="{FF2B5EF4-FFF2-40B4-BE49-F238E27FC236}">
                  <a16:creationId xmlns:a16="http://schemas.microsoft.com/office/drawing/2014/main" id="{5F0C96D1-A8B7-4C8E-9997-D823FD1591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318434" y="3985"/>
              <a:ext cx="9747620" cy="6858000"/>
            </a:xfrm>
            <a:custGeom>
              <a:avLst/>
              <a:gdLst>
                <a:gd name="connsiteX0" fmla="*/ 7235453 w 9747620"/>
                <a:gd name="connsiteY0" fmla="*/ 0 h 6858000"/>
                <a:gd name="connsiteX1" fmla="*/ 7548130 w 9747620"/>
                <a:gd name="connsiteY1" fmla="*/ 0 h 6858000"/>
                <a:gd name="connsiteX2" fmla="*/ 7710334 w 9747620"/>
                <a:gd name="connsiteY2" fmla="*/ 111973 h 6858000"/>
                <a:gd name="connsiteX3" fmla="*/ 7889188 w 9747620"/>
                <a:gd name="connsiteY3" fmla="*/ 251542 h 6858000"/>
                <a:gd name="connsiteX4" fmla="*/ 8061828 w 9747620"/>
                <a:gd name="connsiteY4" fmla="*/ 398586 h 6858000"/>
                <a:gd name="connsiteX5" fmla="*/ 8145637 w 9747620"/>
                <a:gd name="connsiteY5" fmla="*/ 474218 h 6858000"/>
                <a:gd name="connsiteX6" fmla="*/ 8187242 w 9747620"/>
                <a:gd name="connsiteY6" fmla="*/ 512753 h 6858000"/>
                <a:gd name="connsiteX7" fmla="*/ 8228402 w 9747620"/>
                <a:gd name="connsiteY7" fmla="*/ 551575 h 6858000"/>
                <a:gd name="connsiteX8" fmla="*/ 8389211 w 9747620"/>
                <a:gd name="connsiteY8" fmla="*/ 710937 h 6858000"/>
                <a:gd name="connsiteX9" fmla="*/ 8467206 w 9747620"/>
                <a:gd name="connsiteY9" fmla="*/ 793088 h 6858000"/>
                <a:gd name="connsiteX10" fmla="*/ 8486791 w 9747620"/>
                <a:gd name="connsiteY10" fmla="*/ 814223 h 6858000"/>
                <a:gd name="connsiteX11" fmla="*/ 8505979 w 9747620"/>
                <a:gd name="connsiteY11" fmla="*/ 835409 h 6858000"/>
                <a:gd name="connsiteX12" fmla="*/ 8543509 w 9747620"/>
                <a:gd name="connsiteY12" fmla="*/ 877346 h 6858000"/>
                <a:gd name="connsiteX13" fmla="*/ 8690549 w 9747620"/>
                <a:gd name="connsiteY13" fmla="*/ 1048978 h 6858000"/>
                <a:gd name="connsiteX14" fmla="*/ 8761732 w 9747620"/>
                <a:gd name="connsiteY14" fmla="*/ 1137502 h 6858000"/>
                <a:gd name="connsiteX15" fmla="*/ 8796379 w 9747620"/>
                <a:gd name="connsiteY15" fmla="*/ 1182077 h 6858000"/>
                <a:gd name="connsiteX16" fmla="*/ 8830678 w 9747620"/>
                <a:gd name="connsiteY16" fmla="*/ 1226986 h 6858000"/>
                <a:gd name="connsiteX17" fmla="*/ 8963353 w 9747620"/>
                <a:gd name="connsiteY17" fmla="*/ 1410936 h 6858000"/>
                <a:gd name="connsiteX18" fmla="*/ 9026483 w 9747620"/>
                <a:gd name="connsiteY18" fmla="*/ 1505499 h 6858000"/>
                <a:gd name="connsiteX19" fmla="*/ 9057004 w 9747620"/>
                <a:gd name="connsiteY19" fmla="*/ 1552613 h 6858000"/>
                <a:gd name="connsiteX20" fmla="*/ 9087278 w 9747620"/>
                <a:gd name="connsiteY20" fmla="*/ 1600542 h 6858000"/>
                <a:gd name="connsiteX21" fmla="*/ 9202851 w 9747620"/>
                <a:gd name="connsiteY21" fmla="*/ 1795515 h 6858000"/>
                <a:gd name="connsiteX22" fmla="*/ 9257332 w 9747620"/>
                <a:gd name="connsiteY22" fmla="*/ 1894920 h 6858000"/>
                <a:gd name="connsiteX23" fmla="*/ 9283778 w 9747620"/>
                <a:gd name="connsiteY23" fmla="*/ 1945436 h 6858000"/>
                <a:gd name="connsiteX24" fmla="*/ 9309428 w 9747620"/>
                <a:gd name="connsiteY24" fmla="*/ 1996193 h 6858000"/>
                <a:gd name="connsiteX25" fmla="*/ 9405714 w 9747620"/>
                <a:gd name="connsiteY25" fmla="*/ 2202191 h 6858000"/>
                <a:gd name="connsiteX26" fmla="*/ 9566524 w 9747620"/>
                <a:gd name="connsiteY26" fmla="*/ 2627653 h 6858000"/>
                <a:gd name="connsiteX27" fmla="*/ 9583573 w 9747620"/>
                <a:gd name="connsiteY27" fmla="*/ 2682195 h 6858000"/>
                <a:gd name="connsiteX28" fmla="*/ 9591974 w 9747620"/>
                <a:gd name="connsiteY28" fmla="*/ 2709707 h 6858000"/>
                <a:gd name="connsiteX29" fmla="*/ 9600027 w 9747620"/>
                <a:gd name="connsiteY29" fmla="*/ 2737650 h 6858000"/>
                <a:gd name="connsiteX30" fmla="*/ 9629803 w 9747620"/>
                <a:gd name="connsiteY30" fmla="*/ 2847694 h 6858000"/>
                <a:gd name="connsiteX31" fmla="*/ 9679909 w 9747620"/>
                <a:gd name="connsiteY31" fmla="*/ 3070131 h 6858000"/>
                <a:gd name="connsiteX32" fmla="*/ 9690498 w 9747620"/>
                <a:gd name="connsiteY32" fmla="*/ 3126159 h 6858000"/>
                <a:gd name="connsiteX33" fmla="*/ 9700390 w 9747620"/>
                <a:gd name="connsiteY33" fmla="*/ 3181805 h 6858000"/>
                <a:gd name="connsiteX34" fmla="*/ 9709685 w 9747620"/>
                <a:gd name="connsiteY34" fmla="*/ 3243392 h 6858000"/>
                <a:gd name="connsiteX35" fmla="*/ 9713016 w 9747620"/>
                <a:gd name="connsiteY35" fmla="*/ 3267597 h 6858000"/>
                <a:gd name="connsiteX36" fmla="*/ 9716844 w 9747620"/>
                <a:gd name="connsiteY36" fmla="*/ 3294437 h 6858000"/>
                <a:gd name="connsiteX37" fmla="*/ 9720820 w 9747620"/>
                <a:gd name="connsiteY37" fmla="*/ 3324488 h 6858000"/>
                <a:gd name="connsiteX38" fmla="*/ 9722709 w 9747620"/>
                <a:gd name="connsiteY38" fmla="*/ 3340737 h 6858000"/>
                <a:gd name="connsiteX39" fmla="*/ 9724301 w 9747620"/>
                <a:gd name="connsiteY39" fmla="*/ 3356361 h 6858000"/>
                <a:gd name="connsiteX40" fmla="*/ 9730166 w 9747620"/>
                <a:gd name="connsiteY40" fmla="*/ 3412197 h 6858000"/>
                <a:gd name="connsiteX41" fmla="*/ 9735783 w 9747620"/>
                <a:gd name="connsiteY41" fmla="*/ 3468083 h 6858000"/>
                <a:gd name="connsiteX42" fmla="*/ 9739760 w 9747620"/>
                <a:gd name="connsiteY42" fmla="*/ 3524399 h 6858000"/>
                <a:gd name="connsiteX43" fmla="*/ 9741748 w 9747620"/>
                <a:gd name="connsiteY43" fmla="*/ 3552580 h 6858000"/>
                <a:gd name="connsiteX44" fmla="*/ 9742742 w 9747620"/>
                <a:gd name="connsiteY44" fmla="*/ 3566672 h 6858000"/>
                <a:gd name="connsiteX45" fmla="*/ 9743488 w 9747620"/>
                <a:gd name="connsiteY45" fmla="*/ 3581865 h 6858000"/>
                <a:gd name="connsiteX46" fmla="*/ 9744731 w 9747620"/>
                <a:gd name="connsiteY46" fmla="*/ 3611341 h 6858000"/>
                <a:gd name="connsiteX47" fmla="*/ 9745725 w 9747620"/>
                <a:gd name="connsiteY47" fmla="*/ 3639715 h 6858000"/>
                <a:gd name="connsiteX48" fmla="*/ 9747613 w 9747620"/>
                <a:gd name="connsiteY48" fmla="*/ 3753786 h 6858000"/>
                <a:gd name="connsiteX49" fmla="*/ 9740405 w 9747620"/>
                <a:gd name="connsiteY49" fmla="*/ 3984609 h 6858000"/>
                <a:gd name="connsiteX50" fmla="*/ 9736329 w 9747620"/>
                <a:gd name="connsiteY50" fmla="*/ 4038434 h 6858000"/>
                <a:gd name="connsiteX51" fmla="*/ 9731408 w 9747620"/>
                <a:gd name="connsiteY51" fmla="*/ 4099446 h 6858000"/>
                <a:gd name="connsiteX52" fmla="*/ 9717987 w 9747620"/>
                <a:gd name="connsiteY52" fmla="*/ 4213325 h 6858000"/>
                <a:gd name="connsiteX53" fmla="*/ 9716297 w 9747620"/>
                <a:gd name="connsiteY53" fmla="*/ 4227129 h 6858000"/>
                <a:gd name="connsiteX54" fmla="*/ 9714110 w 9747620"/>
                <a:gd name="connsiteY54" fmla="*/ 4240981 h 6858000"/>
                <a:gd name="connsiteX55" fmla="*/ 9709785 w 9747620"/>
                <a:gd name="connsiteY55" fmla="*/ 4268731 h 6858000"/>
                <a:gd name="connsiteX56" fmla="*/ 9701086 w 9747620"/>
                <a:gd name="connsiteY56" fmla="*/ 4324185 h 6858000"/>
                <a:gd name="connsiteX57" fmla="*/ 9698699 w 9747620"/>
                <a:gd name="connsiteY57" fmla="*/ 4338994 h 6858000"/>
                <a:gd name="connsiteX58" fmla="*/ 9695966 w 9747620"/>
                <a:gd name="connsiteY58" fmla="*/ 4355050 h 6858000"/>
                <a:gd name="connsiteX59" fmla="*/ 9690299 w 9747620"/>
                <a:gd name="connsiteY59" fmla="*/ 4385054 h 6858000"/>
                <a:gd name="connsiteX60" fmla="*/ 9679909 w 9747620"/>
                <a:gd name="connsiteY60" fmla="*/ 4437919 h 6858000"/>
                <a:gd name="connsiteX61" fmla="*/ 9673647 w 9747620"/>
                <a:gd name="connsiteY61" fmla="*/ 4468162 h 6858000"/>
                <a:gd name="connsiteX62" fmla="*/ 9667532 w 9747620"/>
                <a:gd name="connsiteY62" fmla="*/ 4496296 h 6858000"/>
                <a:gd name="connsiteX63" fmla="*/ 9654658 w 9747620"/>
                <a:gd name="connsiteY63" fmla="*/ 4552277 h 6858000"/>
                <a:gd name="connsiteX64" fmla="*/ 9625876 w 9747620"/>
                <a:gd name="connsiteY64" fmla="*/ 4664478 h 6858000"/>
                <a:gd name="connsiteX65" fmla="*/ 9552803 w 9747620"/>
                <a:gd name="connsiteY65" fmla="*/ 4888737 h 6858000"/>
                <a:gd name="connsiteX66" fmla="*/ 9452639 w 9747620"/>
                <a:gd name="connsiteY66" fmla="*/ 5110934 h 6858000"/>
                <a:gd name="connsiteX67" fmla="*/ 9388017 w 9747620"/>
                <a:gd name="connsiteY67" fmla="*/ 5220020 h 6858000"/>
                <a:gd name="connsiteX68" fmla="*/ 9370073 w 9747620"/>
                <a:gd name="connsiteY68" fmla="*/ 5246811 h 6858000"/>
                <a:gd name="connsiteX69" fmla="*/ 9360926 w 9747620"/>
                <a:gd name="connsiteY69" fmla="*/ 5260040 h 6858000"/>
                <a:gd name="connsiteX70" fmla="*/ 9351829 w 9747620"/>
                <a:gd name="connsiteY70" fmla="*/ 5272646 h 6858000"/>
                <a:gd name="connsiteX71" fmla="*/ 9313305 w 9747620"/>
                <a:gd name="connsiteY71" fmla="*/ 5323881 h 6858000"/>
                <a:gd name="connsiteX72" fmla="*/ 9130375 w 9747620"/>
                <a:gd name="connsiteY72" fmla="*/ 5510802 h 6858000"/>
                <a:gd name="connsiteX73" fmla="*/ 9028422 w 9747620"/>
                <a:gd name="connsiteY73" fmla="*/ 5588878 h 6858000"/>
                <a:gd name="connsiteX74" fmla="*/ 9002424 w 9747620"/>
                <a:gd name="connsiteY74" fmla="*/ 5606707 h 6858000"/>
                <a:gd name="connsiteX75" fmla="*/ 8976525 w 9747620"/>
                <a:gd name="connsiteY75" fmla="*/ 5623866 h 6858000"/>
                <a:gd name="connsiteX76" fmla="*/ 8924181 w 9747620"/>
                <a:gd name="connsiteY76" fmla="*/ 5656793 h 6858000"/>
                <a:gd name="connsiteX77" fmla="*/ 8717291 w 9747620"/>
                <a:gd name="connsiteY77" fmla="*/ 5771582 h 6858000"/>
                <a:gd name="connsiteX78" fmla="*/ 8617129 w 9747620"/>
                <a:gd name="connsiteY78" fmla="*/ 5823105 h 6858000"/>
                <a:gd name="connsiteX79" fmla="*/ 8518207 w 9747620"/>
                <a:gd name="connsiteY79" fmla="*/ 5873671 h 6858000"/>
                <a:gd name="connsiteX80" fmla="*/ 8150558 w 9747620"/>
                <a:gd name="connsiteY80" fmla="*/ 6086761 h 6858000"/>
                <a:gd name="connsiteX81" fmla="*/ 7979410 w 9747620"/>
                <a:gd name="connsiteY81" fmla="*/ 6207158 h 6858000"/>
                <a:gd name="connsiteX82" fmla="*/ 7938300 w 9747620"/>
                <a:gd name="connsiteY82" fmla="*/ 6238887 h 6858000"/>
                <a:gd name="connsiteX83" fmla="*/ 7897936 w 9747620"/>
                <a:gd name="connsiteY83" fmla="*/ 6271286 h 6858000"/>
                <a:gd name="connsiteX84" fmla="*/ 7858367 w 9747620"/>
                <a:gd name="connsiteY84" fmla="*/ 6304357 h 6858000"/>
                <a:gd name="connsiteX85" fmla="*/ 7819048 w 9747620"/>
                <a:gd name="connsiteY85" fmla="*/ 6338770 h 6858000"/>
                <a:gd name="connsiteX86" fmla="*/ 7778882 w 9747620"/>
                <a:gd name="connsiteY86" fmla="*/ 6374477 h 6858000"/>
                <a:gd name="connsiteX87" fmla="*/ 7739563 w 9747620"/>
                <a:gd name="connsiteY87" fmla="*/ 6410328 h 6858000"/>
                <a:gd name="connsiteX88" fmla="*/ 7660824 w 9747620"/>
                <a:gd name="connsiteY88" fmla="*/ 6484138 h 6858000"/>
                <a:gd name="connsiteX89" fmla="*/ 7502302 w 9747620"/>
                <a:gd name="connsiteY89" fmla="*/ 6636360 h 6858000"/>
                <a:gd name="connsiteX90" fmla="*/ 7273394 w 9747620"/>
                <a:gd name="connsiteY90" fmla="*/ 6858000 h 6858000"/>
                <a:gd name="connsiteX91" fmla="*/ 6780690 w 9747620"/>
                <a:gd name="connsiteY91" fmla="*/ 6858000 h 6858000"/>
                <a:gd name="connsiteX92" fmla="*/ 6854939 w 9747620"/>
                <a:gd name="connsiteY92" fmla="*/ 6783597 h 6858000"/>
                <a:gd name="connsiteX93" fmla="*/ 6932087 w 9747620"/>
                <a:gd name="connsiteY93" fmla="*/ 6705809 h 6858000"/>
                <a:gd name="connsiteX94" fmla="*/ 7241130 w 9747620"/>
                <a:gd name="connsiteY94" fmla="*/ 6390965 h 6858000"/>
                <a:gd name="connsiteX95" fmla="*/ 7397564 w 9747620"/>
                <a:gd name="connsiteY95" fmla="*/ 6233087 h 6858000"/>
                <a:gd name="connsiteX96" fmla="*/ 7478142 w 9747620"/>
                <a:gd name="connsiteY96" fmla="*/ 6153670 h 6858000"/>
                <a:gd name="connsiteX97" fmla="*/ 7519600 w 9747620"/>
                <a:gd name="connsiteY97" fmla="*/ 6113937 h 6858000"/>
                <a:gd name="connsiteX98" fmla="*/ 7561207 w 9747620"/>
                <a:gd name="connsiteY98" fmla="*/ 6075067 h 6858000"/>
                <a:gd name="connsiteX99" fmla="*/ 7604204 w 9747620"/>
                <a:gd name="connsiteY99" fmla="*/ 6035526 h 6858000"/>
                <a:gd name="connsiteX100" fmla="*/ 7648644 w 9747620"/>
                <a:gd name="connsiteY100" fmla="*/ 5996416 h 6858000"/>
                <a:gd name="connsiteX101" fmla="*/ 7693830 w 9747620"/>
                <a:gd name="connsiteY101" fmla="*/ 5958264 h 6858000"/>
                <a:gd name="connsiteX102" fmla="*/ 7739662 w 9747620"/>
                <a:gd name="connsiteY102" fmla="*/ 5921073 h 6858000"/>
                <a:gd name="connsiteX103" fmla="*/ 7928458 w 9747620"/>
                <a:gd name="connsiteY103" fmla="*/ 5781025 h 6858000"/>
                <a:gd name="connsiteX104" fmla="*/ 8325882 w 9747620"/>
                <a:gd name="connsiteY104" fmla="*/ 5537450 h 6858000"/>
                <a:gd name="connsiteX105" fmla="*/ 8424555 w 9747620"/>
                <a:gd name="connsiteY105" fmla="*/ 5484106 h 6858000"/>
                <a:gd name="connsiteX106" fmla="*/ 8521737 w 9747620"/>
                <a:gd name="connsiteY106" fmla="*/ 5431289 h 6858000"/>
                <a:gd name="connsiteX107" fmla="*/ 8702677 w 9747620"/>
                <a:gd name="connsiteY107" fmla="*/ 5325942 h 6858000"/>
                <a:gd name="connsiteX108" fmla="*/ 8743986 w 9747620"/>
                <a:gd name="connsiteY108" fmla="*/ 5298717 h 6858000"/>
                <a:gd name="connsiteX109" fmla="*/ 8764167 w 9747620"/>
                <a:gd name="connsiteY109" fmla="*/ 5284723 h 6858000"/>
                <a:gd name="connsiteX110" fmla="*/ 8783704 w 9747620"/>
                <a:gd name="connsiteY110" fmla="*/ 5270679 h 6858000"/>
                <a:gd name="connsiteX111" fmla="*/ 8856776 w 9747620"/>
                <a:gd name="connsiteY111" fmla="*/ 5212399 h 6858000"/>
                <a:gd name="connsiteX112" fmla="*/ 8979856 w 9747620"/>
                <a:gd name="connsiteY112" fmla="*/ 5082081 h 6858000"/>
                <a:gd name="connsiteX113" fmla="*/ 9006699 w 9747620"/>
                <a:gd name="connsiteY113" fmla="*/ 5044984 h 6858000"/>
                <a:gd name="connsiteX114" fmla="*/ 9013509 w 9747620"/>
                <a:gd name="connsiteY114" fmla="*/ 5035254 h 6858000"/>
                <a:gd name="connsiteX115" fmla="*/ 9019773 w 9747620"/>
                <a:gd name="connsiteY115" fmla="*/ 5025812 h 6858000"/>
                <a:gd name="connsiteX116" fmla="*/ 9032050 w 9747620"/>
                <a:gd name="connsiteY116" fmla="*/ 5006833 h 6858000"/>
                <a:gd name="connsiteX117" fmla="*/ 9077733 w 9747620"/>
                <a:gd name="connsiteY117" fmla="*/ 4926839 h 6858000"/>
                <a:gd name="connsiteX118" fmla="*/ 9154285 w 9747620"/>
                <a:gd name="connsiteY118" fmla="*/ 4750223 h 6858000"/>
                <a:gd name="connsiteX119" fmla="*/ 9213936 w 9747620"/>
                <a:gd name="connsiteY119" fmla="*/ 4559945 h 6858000"/>
                <a:gd name="connsiteX120" fmla="*/ 9238592 w 9747620"/>
                <a:gd name="connsiteY120" fmla="*/ 4461357 h 6858000"/>
                <a:gd name="connsiteX121" fmla="*/ 9249776 w 9747620"/>
                <a:gd name="connsiteY121" fmla="*/ 4411319 h 6858000"/>
                <a:gd name="connsiteX122" fmla="*/ 9255046 w 9747620"/>
                <a:gd name="connsiteY122" fmla="*/ 4386299 h 6858000"/>
                <a:gd name="connsiteX123" fmla="*/ 9259718 w 9747620"/>
                <a:gd name="connsiteY123" fmla="*/ 4363342 h 6858000"/>
                <a:gd name="connsiteX124" fmla="*/ 9269959 w 9747620"/>
                <a:gd name="connsiteY124" fmla="*/ 4309566 h 6858000"/>
                <a:gd name="connsiteX125" fmla="*/ 9274233 w 9747620"/>
                <a:gd name="connsiteY125" fmla="*/ 4286176 h 6858000"/>
                <a:gd name="connsiteX126" fmla="*/ 9276022 w 9747620"/>
                <a:gd name="connsiteY126" fmla="*/ 4275489 h 6858000"/>
                <a:gd name="connsiteX127" fmla="*/ 9277861 w 9747620"/>
                <a:gd name="connsiteY127" fmla="*/ 4263506 h 6858000"/>
                <a:gd name="connsiteX128" fmla="*/ 9286014 w 9747620"/>
                <a:gd name="connsiteY128" fmla="*/ 4211696 h 6858000"/>
                <a:gd name="connsiteX129" fmla="*/ 9290092 w 9747620"/>
                <a:gd name="connsiteY129" fmla="*/ 4185767 h 6858000"/>
                <a:gd name="connsiteX130" fmla="*/ 9292128 w 9747620"/>
                <a:gd name="connsiteY130" fmla="*/ 4172826 h 6858000"/>
                <a:gd name="connsiteX131" fmla="*/ 9293720 w 9747620"/>
                <a:gd name="connsiteY131" fmla="*/ 4159693 h 6858000"/>
                <a:gd name="connsiteX132" fmla="*/ 9305650 w 9747620"/>
                <a:gd name="connsiteY132" fmla="*/ 4057941 h 6858000"/>
                <a:gd name="connsiteX133" fmla="*/ 9309378 w 9747620"/>
                <a:gd name="connsiteY133" fmla="*/ 4010779 h 6858000"/>
                <a:gd name="connsiteX134" fmla="*/ 9313454 w 9747620"/>
                <a:gd name="connsiteY134" fmla="*/ 3956428 h 6858000"/>
                <a:gd name="connsiteX135" fmla="*/ 9320811 w 9747620"/>
                <a:gd name="connsiteY135" fmla="*/ 3753546 h 6858000"/>
                <a:gd name="connsiteX136" fmla="*/ 9319617 w 9747620"/>
                <a:gd name="connsiteY136" fmla="*/ 3650643 h 6858000"/>
                <a:gd name="connsiteX137" fmla="*/ 9318176 w 9747620"/>
                <a:gd name="connsiteY137" fmla="*/ 3600030 h 6858000"/>
                <a:gd name="connsiteX138" fmla="*/ 9317778 w 9747620"/>
                <a:gd name="connsiteY138" fmla="*/ 3588096 h 6858000"/>
                <a:gd name="connsiteX139" fmla="*/ 9316983 w 9747620"/>
                <a:gd name="connsiteY139" fmla="*/ 3575107 h 6858000"/>
                <a:gd name="connsiteX140" fmla="*/ 9315443 w 9747620"/>
                <a:gd name="connsiteY140" fmla="*/ 3549130 h 6858000"/>
                <a:gd name="connsiteX141" fmla="*/ 9312311 w 9747620"/>
                <a:gd name="connsiteY141" fmla="*/ 3497176 h 6858000"/>
                <a:gd name="connsiteX142" fmla="*/ 9307587 w 9747620"/>
                <a:gd name="connsiteY142" fmla="*/ 3445029 h 6858000"/>
                <a:gd name="connsiteX143" fmla="*/ 9302618 w 9747620"/>
                <a:gd name="connsiteY143" fmla="*/ 3392835 h 6858000"/>
                <a:gd name="connsiteX144" fmla="*/ 9301574 w 9747620"/>
                <a:gd name="connsiteY144" fmla="*/ 3381476 h 6858000"/>
                <a:gd name="connsiteX145" fmla="*/ 9300430 w 9747620"/>
                <a:gd name="connsiteY145" fmla="*/ 3370740 h 6858000"/>
                <a:gd name="connsiteX146" fmla="*/ 9297547 w 9747620"/>
                <a:gd name="connsiteY146" fmla="*/ 3346966 h 6858000"/>
                <a:gd name="connsiteX147" fmla="*/ 9294017 w 9747620"/>
                <a:gd name="connsiteY147" fmla="*/ 3320030 h 6858000"/>
                <a:gd name="connsiteX148" fmla="*/ 9290439 w 9747620"/>
                <a:gd name="connsiteY148" fmla="*/ 3290410 h 6858000"/>
                <a:gd name="connsiteX149" fmla="*/ 9284275 w 9747620"/>
                <a:gd name="connsiteY149" fmla="*/ 3244544 h 6858000"/>
                <a:gd name="connsiteX150" fmla="*/ 9275974 w 9747620"/>
                <a:gd name="connsiteY150" fmla="*/ 3193116 h 6858000"/>
                <a:gd name="connsiteX151" fmla="*/ 9267224 w 9747620"/>
                <a:gd name="connsiteY151" fmla="*/ 3142264 h 6858000"/>
                <a:gd name="connsiteX152" fmla="*/ 9225320 w 9747620"/>
                <a:gd name="connsiteY152" fmla="*/ 2939909 h 6858000"/>
                <a:gd name="connsiteX153" fmla="*/ 9200466 w 9747620"/>
                <a:gd name="connsiteY153" fmla="*/ 2839449 h 6858000"/>
                <a:gd name="connsiteX154" fmla="*/ 9193953 w 9747620"/>
                <a:gd name="connsiteY154" fmla="*/ 2814958 h 6858000"/>
                <a:gd name="connsiteX155" fmla="*/ 9186993 w 9747620"/>
                <a:gd name="connsiteY155" fmla="*/ 2790276 h 6858000"/>
                <a:gd name="connsiteX156" fmla="*/ 9172628 w 9747620"/>
                <a:gd name="connsiteY156" fmla="*/ 2740621 h 6858000"/>
                <a:gd name="connsiteX157" fmla="*/ 9035082 w 9747620"/>
                <a:gd name="connsiteY157" fmla="*/ 2347463 h 6858000"/>
                <a:gd name="connsiteX158" fmla="*/ 8952118 w 9747620"/>
                <a:gd name="connsiteY158" fmla="*/ 2155413 h 6858000"/>
                <a:gd name="connsiteX159" fmla="*/ 8929948 w 9747620"/>
                <a:gd name="connsiteY159" fmla="*/ 2107915 h 6858000"/>
                <a:gd name="connsiteX160" fmla="*/ 8907429 w 9747620"/>
                <a:gd name="connsiteY160" fmla="*/ 2060753 h 6858000"/>
                <a:gd name="connsiteX161" fmla="*/ 8860404 w 9747620"/>
                <a:gd name="connsiteY161" fmla="*/ 1966478 h 6858000"/>
                <a:gd name="connsiteX162" fmla="*/ 8760788 w 9747620"/>
                <a:gd name="connsiteY162" fmla="*/ 1780274 h 6858000"/>
                <a:gd name="connsiteX163" fmla="*/ 8734740 w 9747620"/>
                <a:gd name="connsiteY163" fmla="*/ 1734311 h 6858000"/>
                <a:gd name="connsiteX164" fmla="*/ 8708046 w 9747620"/>
                <a:gd name="connsiteY164" fmla="*/ 1687963 h 6858000"/>
                <a:gd name="connsiteX165" fmla="*/ 8654062 w 9747620"/>
                <a:gd name="connsiteY165" fmla="*/ 1597234 h 6858000"/>
                <a:gd name="connsiteX166" fmla="*/ 8540278 w 9747620"/>
                <a:gd name="connsiteY166" fmla="*/ 1418077 h 6858000"/>
                <a:gd name="connsiteX167" fmla="*/ 8510701 w 9747620"/>
                <a:gd name="connsiteY167" fmla="*/ 1373695 h 6858000"/>
                <a:gd name="connsiteX168" fmla="*/ 8480676 w 9747620"/>
                <a:gd name="connsiteY168" fmla="*/ 1329457 h 6858000"/>
                <a:gd name="connsiteX169" fmla="*/ 8419782 w 9747620"/>
                <a:gd name="connsiteY169" fmla="*/ 1242275 h 6858000"/>
                <a:gd name="connsiteX170" fmla="*/ 8292478 w 9747620"/>
                <a:gd name="connsiteY170" fmla="*/ 1069875 h 6858000"/>
                <a:gd name="connsiteX171" fmla="*/ 8259620 w 9747620"/>
                <a:gd name="connsiteY171" fmla="*/ 1027123 h 6858000"/>
                <a:gd name="connsiteX172" fmla="*/ 8243416 w 9747620"/>
                <a:gd name="connsiteY172" fmla="*/ 1006130 h 6858000"/>
                <a:gd name="connsiteX173" fmla="*/ 8227110 w 9747620"/>
                <a:gd name="connsiteY173" fmla="*/ 985473 h 6858000"/>
                <a:gd name="connsiteX174" fmla="*/ 8159604 w 9747620"/>
                <a:gd name="connsiteY174" fmla="*/ 902029 h 6858000"/>
                <a:gd name="connsiteX175" fmla="*/ 8020022 w 9747620"/>
                <a:gd name="connsiteY175" fmla="*/ 738209 h 6858000"/>
                <a:gd name="connsiteX176" fmla="*/ 7984182 w 9747620"/>
                <a:gd name="connsiteY176" fmla="*/ 697901 h 6858000"/>
                <a:gd name="connsiteX177" fmla="*/ 7948043 w 9747620"/>
                <a:gd name="connsiteY177" fmla="*/ 657976 h 6858000"/>
                <a:gd name="connsiteX178" fmla="*/ 7874324 w 9747620"/>
                <a:gd name="connsiteY178" fmla="*/ 578607 h 6858000"/>
                <a:gd name="connsiteX179" fmla="*/ 7723308 w 9747620"/>
                <a:gd name="connsiteY179" fmla="*/ 424085 h 6858000"/>
                <a:gd name="connsiteX180" fmla="*/ 7565532 w 9747620"/>
                <a:gd name="connsiteY180" fmla="*/ 275602 h 6858000"/>
                <a:gd name="connsiteX181" fmla="*/ 1832515 w 9747620"/>
                <a:gd name="connsiteY181" fmla="*/ 0 h 6858000"/>
                <a:gd name="connsiteX182" fmla="*/ 2158449 w 9747620"/>
                <a:gd name="connsiteY182" fmla="*/ 0 h 6858000"/>
                <a:gd name="connsiteX183" fmla="*/ 2108797 w 9747620"/>
                <a:gd name="connsiteY183" fmla="*/ 37845 h 6858000"/>
                <a:gd name="connsiteX184" fmla="*/ 1942830 w 9747620"/>
                <a:gd name="connsiteY184" fmla="*/ 177587 h 6858000"/>
                <a:gd name="connsiteX185" fmla="*/ 1633191 w 9747620"/>
                <a:gd name="connsiteY185" fmla="*/ 477909 h 6858000"/>
                <a:gd name="connsiteX186" fmla="*/ 702686 w 9747620"/>
                <a:gd name="connsiteY186" fmla="*/ 1889935 h 6858000"/>
                <a:gd name="connsiteX187" fmla="*/ 551769 w 9747620"/>
                <a:gd name="connsiteY187" fmla="*/ 2281416 h 6858000"/>
                <a:gd name="connsiteX188" fmla="*/ 438383 w 9747620"/>
                <a:gd name="connsiteY188" fmla="*/ 2682772 h 6858000"/>
                <a:gd name="connsiteX189" fmla="*/ 397124 w 9747620"/>
                <a:gd name="connsiteY189" fmla="*/ 2887044 h 6858000"/>
                <a:gd name="connsiteX190" fmla="*/ 365658 w 9747620"/>
                <a:gd name="connsiteY190" fmla="*/ 3093424 h 6858000"/>
                <a:gd name="connsiteX191" fmla="*/ 332105 w 9747620"/>
                <a:gd name="connsiteY191" fmla="*/ 3509828 h 6858000"/>
                <a:gd name="connsiteX192" fmla="*/ 383653 w 9747620"/>
                <a:gd name="connsiteY192" fmla="*/ 4346327 h 6858000"/>
                <a:gd name="connsiteX193" fmla="*/ 422327 w 9747620"/>
                <a:gd name="connsiteY193" fmla="*/ 4552900 h 6858000"/>
                <a:gd name="connsiteX194" fmla="*/ 472184 w 9747620"/>
                <a:gd name="connsiteY194" fmla="*/ 4757939 h 6858000"/>
                <a:gd name="connsiteX195" fmla="*/ 533078 w 9747620"/>
                <a:gd name="connsiteY195" fmla="*/ 4960916 h 6858000"/>
                <a:gd name="connsiteX196" fmla="*/ 604710 w 9747620"/>
                <a:gd name="connsiteY196" fmla="*/ 5160875 h 6858000"/>
                <a:gd name="connsiteX197" fmla="*/ 996766 w 9747620"/>
                <a:gd name="connsiteY197" fmla="*/ 5920640 h 6858000"/>
                <a:gd name="connsiteX198" fmla="*/ 1549183 w 9747620"/>
                <a:gd name="connsiteY198" fmla="*/ 6586417 h 6858000"/>
                <a:gd name="connsiteX199" fmla="*/ 1709890 w 9747620"/>
                <a:gd name="connsiteY199" fmla="*/ 6734063 h 6858000"/>
                <a:gd name="connsiteX200" fmla="*/ 1859761 w 9747620"/>
                <a:gd name="connsiteY200" fmla="*/ 6858000 h 6858000"/>
                <a:gd name="connsiteX201" fmla="*/ 1671798 w 9747620"/>
                <a:gd name="connsiteY201" fmla="*/ 6858000 h 6858000"/>
                <a:gd name="connsiteX202" fmla="*/ 1628044 w 9747620"/>
                <a:gd name="connsiteY202" fmla="*/ 6822717 h 6858000"/>
                <a:gd name="connsiteX203" fmla="*/ 1459756 w 9747620"/>
                <a:gd name="connsiteY203" fmla="*/ 6674223 h 6858000"/>
                <a:gd name="connsiteX204" fmla="*/ 402543 w 9747620"/>
                <a:gd name="connsiteY204" fmla="*/ 5241588 h 6858000"/>
                <a:gd name="connsiteX205" fmla="*/ 311923 w 9747620"/>
                <a:gd name="connsiteY205" fmla="*/ 5036741 h 6858000"/>
                <a:gd name="connsiteX206" fmla="*/ 232140 w 9747620"/>
                <a:gd name="connsiteY206" fmla="*/ 4827483 h 6858000"/>
                <a:gd name="connsiteX207" fmla="*/ 163392 w 9747620"/>
                <a:gd name="connsiteY207" fmla="*/ 4613913 h 6858000"/>
                <a:gd name="connsiteX208" fmla="*/ 106823 w 9747620"/>
                <a:gd name="connsiteY208" fmla="*/ 4396365 h 6858000"/>
                <a:gd name="connsiteX209" fmla="*/ 29326 w 9747620"/>
                <a:gd name="connsiteY209" fmla="*/ 3954702 h 6858000"/>
                <a:gd name="connsiteX210" fmla="*/ 8647 w 9747620"/>
                <a:gd name="connsiteY210" fmla="*/ 3730971 h 6858000"/>
                <a:gd name="connsiteX211" fmla="*/ 2880 w 9747620"/>
                <a:gd name="connsiteY211" fmla="*/ 3618674 h 6858000"/>
                <a:gd name="connsiteX212" fmla="*/ 296 w 9747620"/>
                <a:gd name="connsiteY212" fmla="*/ 3506425 h 6858000"/>
                <a:gd name="connsiteX213" fmla="*/ 20030 w 9747620"/>
                <a:gd name="connsiteY213" fmla="*/ 3056711 h 6858000"/>
                <a:gd name="connsiteX214" fmla="*/ 48664 w 9747620"/>
                <a:gd name="connsiteY214" fmla="*/ 2832980 h 6858000"/>
                <a:gd name="connsiteX215" fmla="*/ 89922 w 9747620"/>
                <a:gd name="connsiteY215" fmla="*/ 2610639 h 6858000"/>
                <a:gd name="connsiteX216" fmla="*/ 211163 w 9747620"/>
                <a:gd name="connsiteY216" fmla="*/ 2174343 h 6858000"/>
                <a:gd name="connsiteX217" fmla="*/ 379129 w 9747620"/>
                <a:gd name="connsiteY217" fmla="*/ 1754393 h 6858000"/>
                <a:gd name="connsiteX218" fmla="*/ 841424 w 9747620"/>
                <a:gd name="connsiteY218" fmla="*/ 976270 h 6858000"/>
                <a:gd name="connsiteX219" fmla="*/ 1130234 w 9747620"/>
                <a:gd name="connsiteY219" fmla="*/ 625768 h 6858000"/>
                <a:gd name="connsiteX220" fmla="*/ 1452897 w 9747620"/>
                <a:gd name="connsiteY220" fmla="*/ 305748 h 6858000"/>
                <a:gd name="connsiteX221" fmla="*/ 1805682 w 9747620"/>
                <a:gd name="connsiteY221" fmla="*/ 187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Lst>
              <a:rect l="l" t="t" r="r" b="b"/>
              <a:pathLst>
                <a:path w="9747620" h="6858000">
                  <a:moveTo>
                    <a:pt x="7235453" y="0"/>
                  </a:moveTo>
                  <a:lnTo>
                    <a:pt x="7548130" y="0"/>
                  </a:lnTo>
                  <a:lnTo>
                    <a:pt x="7710334" y="111973"/>
                  </a:lnTo>
                  <a:cubicBezTo>
                    <a:pt x="7770781" y="157314"/>
                    <a:pt x="7830282" y="203517"/>
                    <a:pt x="7889188" y="251542"/>
                  </a:cubicBezTo>
                  <a:cubicBezTo>
                    <a:pt x="7947894" y="299470"/>
                    <a:pt x="8005557" y="348453"/>
                    <a:pt x="8061828" y="398586"/>
                  </a:cubicBezTo>
                  <a:cubicBezTo>
                    <a:pt x="8090013" y="423605"/>
                    <a:pt x="8117948" y="448816"/>
                    <a:pt x="8145637" y="474218"/>
                  </a:cubicBezTo>
                  <a:cubicBezTo>
                    <a:pt x="8159506" y="486918"/>
                    <a:pt x="8173375" y="499764"/>
                    <a:pt x="8187242" y="512753"/>
                  </a:cubicBezTo>
                  <a:lnTo>
                    <a:pt x="8228402" y="551575"/>
                  </a:lnTo>
                  <a:cubicBezTo>
                    <a:pt x="8283082" y="603577"/>
                    <a:pt x="8336569" y="656778"/>
                    <a:pt x="8389211" y="710937"/>
                  </a:cubicBezTo>
                  <a:cubicBezTo>
                    <a:pt x="8415458" y="738065"/>
                    <a:pt x="8441455" y="765432"/>
                    <a:pt x="8467206" y="793088"/>
                  </a:cubicBezTo>
                  <a:lnTo>
                    <a:pt x="8486791" y="814223"/>
                  </a:lnTo>
                  <a:lnTo>
                    <a:pt x="8505979" y="835409"/>
                  </a:lnTo>
                  <a:lnTo>
                    <a:pt x="8543509" y="877346"/>
                  </a:lnTo>
                  <a:cubicBezTo>
                    <a:pt x="8593418" y="933423"/>
                    <a:pt x="8642579" y="990601"/>
                    <a:pt x="8690549" y="1048978"/>
                  </a:cubicBezTo>
                  <a:cubicBezTo>
                    <a:pt x="8714558" y="1078168"/>
                    <a:pt x="8738368" y="1107644"/>
                    <a:pt x="8761732" y="1137502"/>
                  </a:cubicBezTo>
                  <a:lnTo>
                    <a:pt x="8796379" y="1182077"/>
                  </a:lnTo>
                  <a:lnTo>
                    <a:pt x="8830678" y="1226986"/>
                  </a:lnTo>
                  <a:cubicBezTo>
                    <a:pt x="8876112" y="1287185"/>
                    <a:pt x="8920304" y="1348532"/>
                    <a:pt x="8963353" y="1410936"/>
                  </a:cubicBezTo>
                  <a:cubicBezTo>
                    <a:pt x="8984727" y="1442137"/>
                    <a:pt x="9005954" y="1473915"/>
                    <a:pt x="9026483" y="1505499"/>
                  </a:cubicBezTo>
                  <a:lnTo>
                    <a:pt x="9057004" y="1552613"/>
                  </a:lnTo>
                  <a:cubicBezTo>
                    <a:pt x="9067245" y="1568525"/>
                    <a:pt x="9077336" y="1584534"/>
                    <a:pt x="9087278" y="1600542"/>
                  </a:cubicBezTo>
                  <a:cubicBezTo>
                    <a:pt x="9127145" y="1664766"/>
                    <a:pt x="9165966" y="1729613"/>
                    <a:pt x="9202851" y="1795515"/>
                  </a:cubicBezTo>
                  <a:cubicBezTo>
                    <a:pt x="9221342" y="1828491"/>
                    <a:pt x="9239437" y="1861417"/>
                    <a:pt x="9257332" y="1894920"/>
                  </a:cubicBezTo>
                  <a:lnTo>
                    <a:pt x="9283778" y="1945436"/>
                  </a:lnTo>
                  <a:lnTo>
                    <a:pt x="9309428" y="1996193"/>
                  </a:lnTo>
                  <a:cubicBezTo>
                    <a:pt x="9343280" y="2064013"/>
                    <a:pt x="9375491" y="2132695"/>
                    <a:pt x="9405714" y="2202191"/>
                  </a:cubicBezTo>
                  <a:cubicBezTo>
                    <a:pt x="9466260" y="2341183"/>
                    <a:pt x="9520493" y="2483053"/>
                    <a:pt x="9566524" y="2627653"/>
                  </a:cubicBezTo>
                  <a:cubicBezTo>
                    <a:pt x="9572289" y="2645675"/>
                    <a:pt x="9578056" y="2663792"/>
                    <a:pt x="9583573" y="2682195"/>
                  </a:cubicBezTo>
                  <a:lnTo>
                    <a:pt x="9591974" y="2709707"/>
                  </a:lnTo>
                  <a:lnTo>
                    <a:pt x="9600027" y="2737650"/>
                  </a:lnTo>
                  <a:cubicBezTo>
                    <a:pt x="9610416" y="2774171"/>
                    <a:pt x="9620358" y="2810884"/>
                    <a:pt x="9629803" y="2847694"/>
                  </a:cubicBezTo>
                  <a:cubicBezTo>
                    <a:pt x="9648692" y="2921312"/>
                    <a:pt x="9665196" y="2995506"/>
                    <a:pt x="9679909" y="3070131"/>
                  </a:cubicBezTo>
                  <a:cubicBezTo>
                    <a:pt x="9683587" y="3088775"/>
                    <a:pt x="9687118" y="3107418"/>
                    <a:pt x="9690498" y="3126159"/>
                  </a:cubicBezTo>
                  <a:lnTo>
                    <a:pt x="9700390" y="3181805"/>
                  </a:lnTo>
                  <a:cubicBezTo>
                    <a:pt x="9703670" y="3201120"/>
                    <a:pt x="9706952" y="3222112"/>
                    <a:pt x="9709685" y="3243392"/>
                  </a:cubicBezTo>
                  <a:lnTo>
                    <a:pt x="9713016" y="3267597"/>
                  </a:lnTo>
                  <a:lnTo>
                    <a:pt x="9716844" y="3294437"/>
                  </a:lnTo>
                  <a:cubicBezTo>
                    <a:pt x="9718186" y="3303926"/>
                    <a:pt x="9719527" y="3313895"/>
                    <a:pt x="9720820" y="3324488"/>
                  </a:cubicBezTo>
                  <a:lnTo>
                    <a:pt x="9722709" y="3340737"/>
                  </a:lnTo>
                  <a:lnTo>
                    <a:pt x="9724301" y="3356361"/>
                  </a:lnTo>
                  <a:lnTo>
                    <a:pt x="9730166" y="3412197"/>
                  </a:lnTo>
                  <a:cubicBezTo>
                    <a:pt x="9732005" y="3430842"/>
                    <a:pt x="9734291" y="3449342"/>
                    <a:pt x="9735783" y="3468083"/>
                  </a:cubicBezTo>
                  <a:lnTo>
                    <a:pt x="9739760" y="3524399"/>
                  </a:lnTo>
                  <a:lnTo>
                    <a:pt x="9741748" y="3552580"/>
                  </a:lnTo>
                  <a:lnTo>
                    <a:pt x="9742742" y="3566672"/>
                  </a:lnTo>
                  <a:lnTo>
                    <a:pt x="9743488" y="3581865"/>
                  </a:lnTo>
                  <a:lnTo>
                    <a:pt x="9744731" y="3611341"/>
                  </a:lnTo>
                  <a:lnTo>
                    <a:pt x="9745725" y="3639715"/>
                  </a:lnTo>
                  <a:cubicBezTo>
                    <a:pt x="9746868" y="3677579"/>
                    <a:pt x="9747514" y="3715587"/>
                    <a:pt x="9747613" y="3753786"/>
                  </a:cubicBezTo>
                  <a:cubicBezTo>
                    <a:pt x="9747763" y="3830232"/>
                    <a:pt x="9745675" y="3906870"/>
                    <a:pt x="9740405" y="3984609"/>
                  </a:cubicBezTo>
                  <a:lnTo>
                    <a:pt x="9736329" y="4038434"/>
                  </a:lnTo>
                  <a:cubicBezTo>
                    <a:pt x="9735087" y="4055976"/>
                    <a:pt x="9733794" y="4076346"/>
                    <a:pt x="9731408" y="4099446"/>
                  </a:cubicBezTo>
                  <a:lnTo>
                    <a:pt x="9717987" y="4213325"/>
                  </a:lnTo>
                  <a:cubicBezTo>
                    <a:pt x="9717441" y="4217926"/>
                    <a:pt x="9716943" y="4222527"/>
                    <a:pt x="9716297" y="4227129"/>
                  </a:cubicBezTo>
                  <a:lnTo>
                    <a:pt x="9714110" y="4240981"/>
                  </a:lnTo>
                  <a:lnTo>
                    <a:pt x="9709785" y="4268731"/>
                  </a:lnTo>
                  <a:lnTo>
                    <a:pt x="9701086" y="4324185"/>
                  </a:lnTo>
                  <a:lnTo>
                    <a:pt x="9698699" y="4338994"/>
                  </a:lnTo>
                  <a:lnTo>
                    <a:pt x="9695966" y="4355050"/>
                  </a:lnTo>
                  <a:cubicBezTo>
                    <a:pt x="9694077" y="4365547"/>
                    <a:pt x="9692188" y="4375516"/>
                    <a:pt x="9690299" y="4385054"/>
                  </a:cubicBezTo>
                  <a:lnTo>
                    <a:pt x="9679909" y="4437919"/>
                  </a:lnTo>
                  <a:cubicBezTo>
                    <a:pt x="9677871" y="4448320"/>
                    <a:pt x="9675735" y="4458097"/>
                    <a:pt x="9673647" y="4468162"/>
                  </a:cubicBezTo>
                  <a:lnTo>
                    <a:pt x="9667532" y="4496296"/>
                  </a:lnTo>
                  <a:cubicBezTo>
                    <a:pt x="9663406" y="4514941"/>
                    <a:pt x="9659081" y="4533585"/>
                    <a:pt x="9654658" y="4552277"/>
                  </a:cubicBezTo>
                  <a:cubicBezTo>
                    <a:pt x="9645760" y="4589613"/>
                    <a:pt x="9636265" y="4627045"/>
                    <a:pt x="9625876" y="4664478"/>
                  </a:cubicBezTo>
                  <a:cubicBezTo>
                    <a:pt x="9605048" y="4739247"/>
                    <a:pt x="9581088" y="4814303"/>
                    <a:pt x="9552803" y="4888737"/>
                  </a:cubicBezTo>
                  <a:cubicBezTo>
                    <a:pt x="9524668" y="4962930"/>
                    <a:pt x="9492109" y="5037459"/>
                    <a:pt x="9452639" y="5110934"/>
                  </a:cubicBezTo>
                  <a:cubicBezTo>
                    <a:pt x="9432905" y="5147695"/>
                    <a:pt x="9411431" y="5184169"/>
                    <a:pt x="9388017" y="5220020"/>
                  </a:cubicBezTo>
                  <a:cubicBezTo>
                    <a:pt x="9382201" y="5228982"/>
                    <a:pt x="9376236" y="5237945"/>
                    <a:pt x="9370073" y="5246811"/>
                  </a:cubicBezTo>
                  <a:lnTo>
                    <a:pt x="9360926" y="5260040"/>
                  </a:lnTo>
                  <a:lnTo>
                    <a:pt x="9351829" y="5272646"/>
                  </a:lnTo>
                  <a:cubicBezTo>
                    <a:pt x="9339700" y="5289468"/>
                    <a:pt x="9327174" y="5306387"/>
                    <a:pt x="9313305" y="5323881"/>
                  </a:cubicBezTo>
                  <a:cubicBezTo>
                    <a:pt x="9258625" y="5393042"/>
                    <a:pt x="9196489" y="5455445"/>
                    <a:pt x="9130375" y="5510802"/>
                  </a:cubicBezTo>
                  <a:cubicBezTo>
                    <a:pt x="9097319" y="5538505"/>
                    <a:pt x="9063268" y="5564530"/>
                    <a:pt x="9028422" y="5588878"/>
                  </a:cubicBezTo>
                  <a:cubicBezTo>
                    <a:pt x="9019723" y="5595109"/>
                    <a:pt x="9011074" y="5600909"/>
                    <a:pt x="9002424" y="5606707"/>
                  </a:cubicBezTo>
                  <a:cubicBezTo>
                    <a:pt x="8993774" y="5612603"/>
                    <a:pt x="8985124" y="5618211"/>
                    <a:pt x="8976525" y="5623866"/>
                  </a:cubicBezTo>
                  <a:cubicBezTo>
                    <a:pt x="8959277" y="5635130"/>
                    <a:pt x="8941629" y="5646201"/>
                    <a:pt x="8924181" y="5656793"/>
                  </a:cubicBezTo>
                  <a:cubicBezTo>
                    <a:pt x="8854291" y="5699259"/>
                    <a:pt x="8784946" y="5736451"/>
                    <a:pt x="8717291" y="5771582"/>
                  </a:cubicBezTo>
                  <a:lnTo>
                    <a:pt x="8617129" y="5823105"/>
                  </a:lnTo>
                  <a:lnTo>
                    <a:pt x="8518207" y="5873671"/>
                  </a:lnTo>
                  <a:cubicBezTo>
                    <a:pt x="8391200" y="5939188"/>
                    <a:pt x="8267922" y="6009788"/>
                    <a:pt x="8150558" y="6086761"/>
                  </a:cubicBezTo>
                  <a:cubicBezTo>
                    <a:pt x="8091901" y="6125248"/>
                    <a:pt x="8034736" y="6165317"/>
                    <a:pt x="7979410" y="6207158"/>
                  </a:cubicBezTo>
                  <a:cubicBezTo>
                    <a:pt x="7965739" y="6217750"/>
                    <a:pt x="7951771" y="6228103"/>
                    <a:pt x="7938300" y="6238887"/>
                  </a:cubicBezTo>
                  <a:lnTo>
                    <a:pt x="7897936" y="6271286"/>
                  </a:lnTo>
                  <a:lnTo>
                    <a:pt x="7858367" y="6304357"/>
                  </a:lnTo>
                  <a:lnTo>
                    <a:pt x="7819048" y="6338770"/>
                  </a:lnTo>
                  <a:cubicBezTo>
                    <a:pt x="7804882" y="6351232"/>
                    <a:pt x="7792105" y="6362591"/>
                    <a:pt x="7778882" y="6374477"/>
                  </a:cubicBezTo>
                  <a:lnTo>
                    <a:pt x="7739563" y="6410328"/>
                  </a:lnTo>
                  <a:cubicBezTo>
                    <a:pt x="7713366" y="6434485"/>
                    <a:pt x="7687168" y="6459120"/>
                    <a:pt x="7660824" y="6484138"/>
                  </a:cubicBezTo>
                  <a:lnTo>
                    <a:pt x="7502302" y="6636360"/>
                  </a:lnTo>
                  <a:lnTo>
                    <a:pt x="7273394" y="6858000"/>
                  </a:lnTo>
                  <a:lnTo>
                    <a:pt x="6780690" y="6858000"/>
                  </a:lnTo>
                  <a:lnTo>
                    <a:pt x="6854939" y="6783597"/>
                  </a:lnTo>
                  <a:cubicBezTo>
                    <a:pt x="6880688" y="6757810"/>
                    <a:pt x="6906338" y="6732265"/>
                    <a:pt x="6932087" y="6705809"/>
                  </a:cubicBezTo>
                  <a:lnTo>
                    <a:pt x="7241130" y="6390965"/>
                  </a:lnTo>
                  <a:lnTo>
                    <a:pt x="7397564" y="6233087"/>
                  </a:lnTo>
                  <a:cubicBezTo>
                    <a:pt x="7424009" y="6206679"/>
                    <a:pt x="7450802" y="6180175"/>
                    <a:pt x="7478142" y="6153670"/>
                  </a:cubicBezTo>
                  <a:lnTo>
                    <a:pt x="7519600" y="6113937"/>
                  </a:lnTo>
                  <a:cubicBezTo>
                    <a:pt x="7533469" y="6100805"/>
                    <a:pt x="7547934" y="6087288"/>
                    <a:pt x="7561207" y="6075067"/>
                  </a:cubicBezTo>
                  <a:lnTo>
                    <a:pt x="7604204" y="6035526"/>
                  </a:lnTo>
                  <a:lnTo>
                    <a:pt x="7648644" y="5996416"/>
                  </a:lnTo>
                  <a:cubicBezTo>
                    <a:pt x="7663608" y="5983570"/>
                    <a:pt x="7678768" y="5971013"/>
                    <a:pt x="7693830" y="5958264"/>
                  </a:cubicBezTo>
                  <a:cubicBezTo>
                    <a:pt x="7708942" y="5945611"/>
                    <a:pt x="7724352" y="5933485"/>
                    <a:pt x="7739662" y="5921073"/>
                  </a:cubicBezTo>
                  <a:cubicBezTo>
                    <a:pt x="7801154" y="5872088"/>
                    <a:pt x="7864234" y="5825502"/>
                    <a:pt x="7928458" y="5781025"/>
                  </a:cubicBezTo>
                  <a:cubicBezTo>
                    <a:pt x="8057005" y="5692164"/>
                    <a:pt x="8190077" y="5611500"/>
                    <a:pt x="8325882" y="5537450"/>
                  </a:cubicBezTo>
                  <a:lnTo>
                    <a:pt x="8424555" y="5484106"/>
                  </a:lnTo>
                  <a:lnTo>
                    <a:pt x="8521737" y="5431289"/>
                  </a:lnTo>
                  <a:cubicBezTo>
                    <a:pt x="8585315" y="5396349"/>
                    <a:pt x="8646456" y="5361840"/>
                    <a:pt x="8702677" y="5325942"/>
                  </a:cubicBezTo>
                  <a:cubicBezTo>
                    <a:pt x="8716795" y="5316931"/>
                    <a:pt x="8730365" y="5308017"/>
                    <a:pt x="8743986" y="5298717"/>
                  </a:cubicBezTo>
                  <a:cubicBezTo>
                    <a:pt x="8750747" y="5294069"/>
                    <a:pt x="8757606" y="5289420"/>
                    <a:pt x="8764167" y="5284723"/>
                  </a:cubicBezTo>
                  <a:cubicBezTo>
                    <a:pt x="8770778" y="5280074"/>
                    <a:pt x="8777440" y="5275377"/>
                    <a:pt x="8783704" y="5270679"/>
                  </a:cubicBezTo>
                  <a:cubicBezTo>
                    <a:pt x="8809155" y="5251987"/>
                    <a:pt x="8833611" y="5232577"/>
                    <a:pt x="8856776" y="5212399"/>
                  </a:cubicBezTo>
                  <a:cubicBezTo>
                    <a:pt x="8903104" y="5172043"/>
                    <a:pt x="8944463" y="5128668"/>
                    <a:pt x="8979856" y="5082081"/>
                  </a:cubicBezTo>
                  <a:cubicBezTo>
                    <a:pt x="8988555" y="5070722"/>
                    <a:pt x="8997602" y="5057973"/>
                    <a:pt x="9006699" y="5044984"/>
                  </a:cubicBezTo>
                  <a:lnTo>
                    <a:pt x="9013509" y="5035254"/>
                  </a:lnTo>
                  <a:lnTo>
                    <a:pt x="9019773" y="5025812"/>
                  </a:lnTo>
                  <a:cubicBezTo>
                    <a:pt x="9023997" y="5019629"/>
                    <a:pt x="9028073" y="5013254"/>
                    <a:pt x="9032050" y="5006833"/>
                  </a:cubicBezTo>
                  <a:cubicBezTo>
                    <a:pt x="9048206" y="4981238"/>
                    <a:pt x="9063417" y="4954542"/>
                    <a:pt x="9077733" y="4926839"/>
                  </a:cubicBezTo>
                  <a:cubicBezTo>
                    <a:pt x="9106415" y="4871434"/>
                    <a:pt x="9131469" y="4812050"/>
                    <a:pt x="9154285" y="4750223"/>
                  </a:cubicBezTo>
                  <a:cubicBezTo>
                    <a:pt x="9176904" y="4688586"/>
                    <a:pt x="9196537" y="4625032"/>
                    <a:pt x="9213936" y="4559945"/>
                  </a:cubicBezTo>
                  <a:cubicBezTo>
                    <a:pt x="9222635" y="4527402"/>
                    <a:pt x="9230887" y="4494523"/>
                    <a:pt x="9238592" y="4461357"/>
                  </a:cubicBezTo>
                  <a:cubicBezTo>
                    <a:pt x="9242419" y="4444773"/>
                    <a:pt x="9246147" y="4428094"/>
                    <a:pt x="9249776" y="4411319"/>
                  </a:cubicBezTo>
                  <a:lnTo>
                    <a:pt x="9255046" y="4386299"/>
                  </a:lnTo>
                  <a:lnTo>
                    <a:pt x="9259718" y="4363342"/>
                  </a:lnTo>
                  <a:lnTo>
                    <a:pt x="9269959" y="4309566"/>
                  </a:lnTo>
                  <a:lnTo>
                    <a:pt x="9274233" y="4286176"/>
                  </a:lnTo>
                  <a:lnTo>
                    <a:pt x="9276022" y="4275489"/>
                  </a:lnTo>
                  <a:lnTo>
                    <a:pt x="9277861" y="4263506"/>
                  </a:lnTo>
                  <a:lnTo>
                    <a:pt x="9286014" y="4211696"/>
                  </a:lnTo>
                  <a:lnTo>
                    <a:pt x="9290092" y="4185767"/>
                  </a:lnTo>
                  <a:lnTo>
                    <a:pt x="9292128" y="4172826"/>
                  </a:lnTo>
                  <a:cubicBezTo>
                    <a:pt x="9292774" y="4168464"/>
                    <a:pt x="9293173" y="4164055"/>
                    <a:pt x="9293720" y="4159693"/>
                  </a:cubicBezTo>
                  <a:lnTo>
                    <a:pt x="9305650" y="4057941"/>
                  </a:lnTo>
                  <a:cubicBezTo>
                    <a:pt x="9306991" y="4045048"/>
                    <a:pt x="9308085" y="4029328"/>
                    <a:pt x="9309378" y="4010779"/>
                  </a:cubicBezTo>
                  <a:lnTo>
                    <a:pt x="9313454" y="3956428"/>
                  </a:lnTo>
                  <a:cubicBezTo>
                    <a:pt x="9318326" y="3889806"/>
                    <a:pt x="9320611" y="3821796"/>
                    <a:pt x="9320811" y="3753546"/>
                  </a:cubicBezTo>
                  <a:cubicBezTo>
                    <a:pt x="9320910" y="3719373"/>
                    <a:pt x="9320513" y="3685056"/>
                    <a:pt x="9319617" y="3650643"/>
                  </a:cubicBezTo>
                  <a:lnTo>
                    <a:pt x="9318176" y="3600030"/>
                  </a:lnTo>
                  <a:lnTo>
                    <a:pt x="9317778" y="3588096"/>
                  </a:lnTo>
                  <a:lnTo>
                    <a:pt x="9316983" y="3575107"/>
                  </a:lnTo>
                  <a:lnTo>
                    <a:pt x="9315443" y="3549130"/>
                  </a:lnTo>
                  <a:lnTo>
                    <a:pt x="9312311" y="3497176"/>
                  </a:lnTo>
                  <a:cubicBezTo>
                    <a:pt x="9311118" y="3479825"/>
                    <a:pt x="9309129" y="3462427"/>
                    <a:pt x="9307587" y="3445029"/>
                  </a:cubicBezTo>
                  <a:lnTo>
                    <a:pt x="9302618" y="3392835"/>
                  </a:lnTo>
                  <a:lnTo>
                    <a:pt x="9301574" y="3381476"/>
                  </a:lnTo>
                  <a:lnTo>
                    <a:pt x="9300430" y="3370740"/>
                  </a:lnTo>
                  <a:lnTo>
                    <a:pt x="9297547" y="3346966"/>
                  </a:lnTo>
                  <a:lnTo>
                    <a:pt x="9294017" y="3320030"/>
                  </a:lnTo>
                  <a:lnTo>
                    <a:pt x="9290439" y="3290410"/>
                  </a:lnTo>
                  <a:cubicBezTo>
                    <a:pt x="9288849" y="3275745"/>
                    <a:pt x="9286761" y="3260934"/>
                    <a:pt x="9284275" y="3244544"/>
                  </a:cubicBezTo>
                  <a:lnTo>
                    <a:pt x="9275974" y="3193116"/>
                  </a:lnTo>
                  <a:cubicBezTo>
                    <a:pt x="9273189" y="3176197"/>
                    <a:pt x="9270256" y="3159230"/>
                    <a:pt x="9267224" y="3142264"/>
                  </a:cubicBezTo>
                  <a:cubicBezTo>
                    <a:pt x="9255146" y="3074493"/>
                    <a:pt x="9240929" y="3007057"/>
                    <a:pt x="9225320" y="2939909"/>
                  </a:cubicBezTo>
                  <a:cubicBezTo>
                    <a:pt x="9217465" y="2906311"/>
                    <a:pt x="9209214" y="2872809"/>
                    <a:pt x="9200466" y="2839449"/>
                  </a:cubicBezTo>
                  <a:lnTo>
                    <a:pt x="9193953" y="2814958"/>
                  </a:lnTo>
                  <a:lnTo>
                    <a:pt x="9186993" y="2790276"/>
                  </a:lnTo>
                  <a:cubicBezTo>
                    <a:pt x="9182471" y="2773836"/>
                    <a:pt x="9177599" y="2757252"/>
                    <a:pt x="9172628" y="2740621"/>
                  </a:cubicBezTo>
                  <a:cubicBezTo>
                    <a:pt x="9133110" y="2607859"/>
                    <a:pt x="9087527" y="2476533"/>
                    <a:pt x="9035082" y="2347463"/>
                  </a:cubicBezTo>
                  <a:cubicBezTo>
                    <a:pt x="9008836" y="2282951"/>
                    <a:pt x="8981298" y="2218870"/>
                    <a:pt x="8952118" y="2155413"/>
                  </a:cubicBezTo>
                  <a:lnTo>
                    <a:pt x="8929948" y="2107915"/>
                  </a:lnTo>
                  <a:lnTo>
                    <a:pt x="8907429" y="2060753"/>
                  </a:lnTo>
                  <a:cubicBezTo>
                    <a:pt x="8892170" y="2029408"/>
                    <a:pt x="8876411" y="1997726"/>
                    <a:pt x="8860404" y="1966478"/>
                  </a:cubicBezTo>
                  <a:cubicBezTo>
                    <a:pt x="8828243" y="1903931"/>
                    <a:pt x="8795336" y="1841670"/>
                    <a:pt x="8760788" y="1780274"/>
                  </a:cubicBezTo>
                  <a:lnTo>
                    <a:pt x="8734740" y="1734311"/>
                  </a:lnTo>
                  <a:lnTo>
                    <a:pt x="8708046" y="1687963"/>
                  </a:lnTo>
                  <a:cubicBezTo>
                    <a:pt x="8690300" y="1657337"/>
                    <a:pt x="8672455" y="1627334"/>
                    <a:pt x="8654062" y="1597234"/>
                  </a:cubicBezTo>
                  <a:cubicBezTo>
                    <a:pt x="8617575" y="1536988"/>
                    <a:pt x="8579398" y="1477365"/>
                    <a:pt x="8540278" y="1418077"/>
                  </a:cubicBezTo>
                  <a:lnTo>
                    <a:pt x="8510701" y="1373695"/>
                  </a:lnTo>
                  <a:lnTo>
                    <a:pt x="8480676" y="1329457"/>
                  </a:lnTo>
                  <a:cubicBezTo>
                    <a:pt x="8460643" y="1300269"/>
                    <a:pt x="8440411" y="1271224"/>
                    <a:pt x="8419782" y="1242275"/>
                  </a:cubicBezTo>
                  <a:cubicBezTo>
                    <a:pt x="8378476" y="1184425"/>
                    <a:pt x="8335923" y="1127006"/>
                    <a:pt x="8292478" y="1069875"/>
                  </a:cubicBezTo>
                  <a:lnTo>
                    <a:pt x="8259620" y="1027123"/>
                  </a:lnTo>
                  <a:lnTo>
                    <a:pt x="8243416" y="1006130"/>
                  </a:lnTo>
                  <a:lnTo>
                    <a:pt x="8227110" y="985473"/>
                  </a:lnTo>
                  <a:cubicBezTo>
                    <a:pt x="8204890" y="957483"/>
                    <a:pt x="8182422" y="929684"/>
                    <a:pt x="8159604" y="902029"/>
                  </a:cubicBezTo>
                  <a:cubicBezTo>
                    <a:pt x="8114170" y="846671"/>
                    <a:pt x="8067494" y="792177"/>
                    <a:pt x="8020022" y="738209"/>
                  </a:cubicBezTo>
                  <a:lnTo>
                    <a:pt x="7984182" y="697901"/>
                  </a:lnTo>
                  <a:lnTo>
                    <a:pt x="7948043" y="657976"/>
                  </a:lnTo>
                  <a:cubicBezTo>
                    <a:pt x="7923636" y="631328"/>
                    <a:pt x="7899079" y="604823"/>
                    <a:pt x="7874324" y="578607"/>
                  </a:cubicBezTo>
                  <a:cubicBezTo>
                    <a:pt x="7824714" y="526221"/>
                    <a:pt x="7774608" y="474458"/>
                    <a:pt x="7723308" y="424085"/>
                  </a:cubicBezTo>
                  <a:cubicBezTo>
                    <a:pt x="7672157" y="373808"/>
                    <a:pt x="7619168" y="324153"/>
                    <a:pt x="7565532" y="275602"/>
                  </a:cubicBezTo>
                  <a:close/>
                  <a:moveTo>
                    <a:pt x="1832515" y="0"/>
                  </a:moveTo>
                  <a:lnTo>
                    <a:pt x="2158449" y="0"/>
                  </a:lnTo>
                  <a:lnTo>
                    <a:pt x="2108797" y="37845"/>
                  </a:lnTo>
                  <a:cubicBezTo>
                    <a:pt x="2052253" y="83168"/>
                    <a:pt x="1996914" y="129778"/>
                    <a:pt x="1942830" y="177587"/>
                  </a:cubicBezTo>
                  <a:cubicBezTo>
                    <a:pt x="1834563" y="273109"/>
                    <a:pt x="1731317" y="373472"/>
                    <a:pt x="1633191" y="477909"/>
                  </a:cubicBezTo>
                  <a:cubicBezTo>
                    <a:pt x="1240290" y="896038"/>
                    <a:pt x="927123" y="1375900"/>
                    <a:pt x="702686" y="1889935"/>
                  </a:cubicBezTo>
                  <a:cubicBezTo>
                    <a:pt x="646565" y="2018192"/>
                    <a:pt x="596210" y="2149182"/>
                    <a:pt x="551769" y="2281416"/>
                  </a:cubicBezTo>
                  <a:cubicBezTo>
                    <a:pt x="507429" y="2413700"/>
                    <a:pt x="469451" y="2547613"/>
                    <a:pt x="438383" y="2682772"/>
                  </a:cubicBezTo>
                  <a:cubicBezTo>
                    <a:pt x="423122" y="2750111"/>
                    <a:pt x="409203" y="2818553"/>
                    <a:pt x="397124" y="2887044"/>
                  </a:cubicBezTo>
                  <a:cubicBezTo>
                    <a:pt x="385144" y="2955581"/>
                    <a:pt x="374357" y="3024359"/>
                    <a:pt x="365658" y="3093424"/>
                  </a:cubicBezTo>
                  <a:cubicBezTo>
                    <a:pt x="347813" y="3231506"/>
                    <a:pt x="336727" y="3370260"/>
                    <a:pt x="332105" y="3509828"/>
                  </a:cubicBezTo>
                  <a:cubicBezTo>
                    <a:pt x="322311" y="3788822"/>
                    <a:pt x="339660" y="4068628"/>
                    <a:pt x="383653" y="4346327"/>
                  </a:cubicBezTo>
                  <a:cubicBezTo>
                    <a:pt x="394539" y="4415489"/>
                    <a:pt x="407464" y="4484267"/>
                    <a:pt x="422327" y="4552900"/>
                  </a:cubicBezTo>
                  <a:cubicBezTo>
                    <a:pt x="437041" y="4621534"/>
                    <a:pt x="453693" y="4689881"/>
                    <a:pt x="472184" y="4757939"/>
                  </a:cubicBezTo>
                  <a:cubicBezTo>
                    <a:pt x="490677" y="4825949"/>
                    <a:pt x="511007" y="4893673"/>
                    <a:pt x="533078" y="4960916"/>
                  </a:cubicBezTo>
                  <a:cubicBezTo>
                    <a:pt x="555249" y="5028208"/>
                    <a:pt x="578662" y="5095022"/>
                    <a:pt x="604710" y="5160875"/>
                  </a:cubicBezTo>
                  <a:cubicBezTo>
                    <a:pt x="707358" y="5425298"/>
                    <a:pt x="838443" y="5680902"/>
                    <a:pt x="996766" y="5920640"/>
                  </a:cubicBezTo>
                  <a:cubicBezTo>
                    <a:pt x="1154790" y="6160571"/>
                    <a:pt x="1340404" y="6384350"/>
                    <a:pt x="1549183" y="6586417"/>
                  </a:cubicBezTo>
                  <a:cubicBezTo>
                    <a:pt x="1601365" y="6636982"/>
                    <a:pt x="1654970" y="6686208"/>
                    <a:pt x="1709890" y="6734063"/>
                  </a:cubicBezTo>
                  <a:lnTo>
                    <a:pt x="1859761" y="6858000"/>
                  </a:lnTo>
                  <a:lnTo>
                    <a:pt x="1671798" y="6858000"/>
                  </a:lnTo>
                  <a:lnTo>
                    <a:pt x="1628044" y="6822717"/>
                  </a:lnTo>
                  <a:cubicBezTo>
                    <a:pt x="1570828" y="6774460"/>
                    <a:pt x="1514710" y="6724955"/>
                    <a:pt x="1459756" y="6674223"/>
                  </a:cubicBezTo>
                  <a:cubicBezTo>
                    <a:pt x="1019931" y="6268363"/>
                    <a:pt x="658296" y="5781216"/>
                    <a:pt x="402543" y="5241588"/>
                  </a:cubicBezTo>
                  <a:cubicBezTo>
                    <a:pt x="370231" y="5174103"/>
                    <a:pt x="340306" y="5105661"/>
                    <a:pt x="311923" y="5036741"/>
                  </a:cubicBezTo>
                  <a:cubicBezTo>
                    <a:pt x="283539" y="4967771"/>
                    <a:pt x="256895" y="4897986"/>
                    <a:pt x="232140" y="4827483"/>
                  </a:cubicBezTo>
                  <a:cubicBezTo>
                    <a:pt x="207334" y="4756981"/>
                    <a:pt x="184368" y="4685758"/>
                    <a:pt x="163392" y="4613913"/>
                  </a:cubicBezTo>
                  <a:cubicBezTo>
                    <a:pt x="142514" y="4542020"/>
                    <a:pt x="123624" y="4469360"/>
                    <a:pt x="106823" y="4396365"/>
                  </a:cubicBezTo>
                  <a:cubicBezTo>
                    <a:pt x="73120" y="4250902"/>
                    <a:pt x="47371" y="4103281"/>
                    <a:pt x="29326" y="3954702"/>
                  </a:cubicBezTo>
                  <a:cubicBezTo>
                    <a:pt x="20478" y="3880365"/>
                    <a:pt x="13320" y="3805789"/>
                    <a:pt x="8647" y="3730971"/>
                  </a:cubicBezTo>
                  <a:cubicBezTo>
                    <a:pt x="6311" y="3693587"/>
                    <a:pt x="4322" y="3656106"/>
                    <a:pt x="2880" y="3618674"/>
                  </a:cubicBezTo>
                  <a:cubicBezTo>
                    <a:pt x="1539" y="3581146"/>
                    <a:pt x="694" y="3543809"/>
                    <a:pt x="296" y="3506425"/>
                  </a:cubicBezTo>
                  <a:cubicBezTo>
                    <a:pt x="-1543" y="3356649"/>
                    <a:pt x="5217" y="3206200"/>
                    <a:pt x="20030" y="3056711"/>
                  </a:cubicBezTo>
                  <a:cubicBezTo>
                    <a:pt x="27686" y="2981942"/>
                    <a:pt x="36931" y="2907317"/>
                    <a:pt x="48664" y="2832980"/>
                  </a:cubicBezTo>
                  <a:cubicBezTo>
                    <a:pt x="60395" y="2758642"/>
                    <a:pt x="73716" y="2684784"/>
                    <a:pt x="89922" y="2610639"/>
                  </a:cubicBezTo>
                  <a:cubicBezTo>
                    <a:pt x="121736" y="2462826"/>
                    <a:pt x="162645" y="2317220"/>
                    <a:pt x="211163" y="2174343"/>
                  </a:cubicBezTo>
                  <a:cubicBezTo>
                    <a:pt x="259778" y="2031468"/>
                    <a:pt x="315601" y="1891517"/>
                    <a:pt x="379129" y="1754393"/>
                  </a:cubicBezTo>
                  <a:cubicBezTo>
                    <a:pt x="505540" y="1480433"/>
                    <a:pt x="660930" y="1219318"/>
                    <a:pt x="841424" y="976270"/>
                  </a:cubicBezTo>
                  <a:cubicBezTo>
                    <a:pt x="931498" y="854627"/>
                    <a:pt x="1028182" y="737777"/>
                    <a:pt x="1130234" y="625768"/>
                  </a:cubicBezTo>
                  <a:cubicBezTo>
                    <a:pt x="1232486" y="513855"/>
                    <a:pt x="1340157" y="407117"/>
                    <a:pt x="1452897" y="305748"/>
                  </a:cubicBezTo>
                  <a:cubicBezTo>
                    <a:pt x="1565736" y="204380"/>
                    <a:pt x="1683596" y="108665"/>
                    <a:pt x="1805682" y="18752"/>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DA46556D-445B-4CD0-87A0-02A30BD1B15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308320" y="3985"/>
              <a:ext cx="9767847" cy="6858000"/>
            </a:xfrm>
            <a:custGeom>
              <a:avLst/>
              <a:gdLst>
                <a:gd name="connsiteX0" fmla="*/ 7151367 w 9767847"/>
                <a:gd name="connsiteY0" fmla="*/ 0 h 6858000"/>
                <a:gd name="connsiteX1" fmla="*/ 7881247 w 9767847"/>
                <a:gd name="connsiteY1" fmla="*/ 0 h 6858000"/>
                <a:gd name="connsiteX2" fmla="*/ 7990553 w 9767847"/>
                <a:gd name="connsiteY2" fmla="*/ 81317 h 6858000"/>
                <a:gd name="connsiteX3" fmla="*/ 9767847 w 9767847"/>
                <a:gd name="connsiteY3" fmla="*/ 3649031 h 6858000"/>
                <a:gd name="connsiteX4" fmla="*/ 8652597 w 9767847"/>
                <a:gd name="connsiteY4" fmla="*/ 6590005 h 6858000"/>
                <a:gd name="connsiteX5" fmla="*/ 8395306 w 9767847"/>
                <a:gd name="connsiteY5" fmla="*/ 6858000 h 6858000"/>
                <a:gd name="connsiteX6" fmla="*/ 6762603 w 9767847"/>
                <a:gd name="connsiteY6" fmla="*/ 6858000 h 6858000"/>
                <a:gd name="connsiteX7" fmla="*/ 6765962 w 9767847"/>
                <a:gd name="connsiteY7" fmla="*/ 6854844 h 6858000"/>
                <a:gd name="connsiteX8" fmla="*/ 6804586 w 9767847"/>
                <a:gd name="connsiteY8" fmla="*/ 6817103 h 6858000"/>
                <a:gd name="connsiteX9" fmla="*/ 6881735 w 9767847"/>
                <a:gd name="connsiteY9" fmla="*/ 6741197 h 6858000"/>
                <a:gd name="connsiteX10" fmla="*/ 6958883 w 9767847"/>
                <a:gd name="connsiteY10" fmla="*/ 6664822 h 6858000"/>
                <a:gd name="connsiteX11" fmla="*/ 7267925 w 9767847"/>
                <a:gd name="connsiteY11" fmla="*/ 6355694 h 6858000"/>
                <a:gd name="connsiteX12" fmla="*/ 7424360 w 9767847"/>
                <a:gd name="connsiteY12" fmla="*/ 6200685 h 6858000"/>
                <a:gd name="connsiteX13" fmla="*/ 7504938 w 9767847"/>
                <a:gd name="connsiteY13" fmla="*/ 6122708 h 6858000"/>
                <a:gd name="connsiteX14" fmla="*/ 7546396 w 9767847"/>
                <a:gd name="connsiteY14" fmla="*/ 6083697 h 6858000"/>
                <a:gd name="connsiteX15" fmla="*/ 7588002 w 9767847"/>
                <a:gd name="connsiteY15" fmla="*/ 6045532 h 6858000"/>
                <a:gd name="connsiteX16" fmla="*/ 7631000 w 9767847"/>
                <a:gd name="connsiteY16" fmla="*/ 6006709 h 6858000"/>
                <a:gd name="connsiteX17" fmla="*/ 7675440 w 9767847"/>
                <a:gd name="connsiteY17" fmla="*/ 5968309 h 6858000"/>
                <a:gd name="connsiteX18" fmla="*/ 7720626 w 9767847"/>
                <a:gd name="connsiteY18" fmla="*/ 5930851 h 6858000"/>
                <a:gd name="connsiteX19" fmla="*/ 7766458 w 9767847"/>
                <a:gd name="connsiteY19" fmla="*/ 5894334 h 6858000"/>
                <a:gd name="connsiteX20" fmla="*/ 7955254 w 9767847"/>
                <a:gd name="connsiteY20" fmla="*/ 5756828 h 6858000"/>
                <a:gd name="connsiteX21" fmla="*/ 8352678 w 9767847"/>
                <a:gd name="connsiteY21" fmla="*/ 5517630 h 6858000"/>
                <a:gd name="connsiteX22" fmla="*/ 8451350 w 9767847"/>
                <a:gd name="connsiteY22" fmla="*/ 5465254 h 6858000"/>
                <a:gd name="connsiteX23" fmla="*/ 8548532 w 9767847"/>
                <a:gd name="connsiteY23" fmla="*/ 5413395 h 6858000"/>
                <a:gd name="connsiteX24" fmla="*/ 8729473 w 9767847"/>
                <a:gd name="connsiteY24" fmla="*/ 5309961 h 6858000"/>
                <a:gd name="connsiteX25" fmla="*/ 8770781 w 9767847"/>
                <a:gd name="connsiteY25" fmla="*/ 5283232 h 6858000"/>
                <a:gd name="connsiteX26" fmla="*/ 8790964 w 9767847"/>
                <a:gd name="connsiteY26" fmla="*/ 5269492 h 6858000"/>
                <a:gd name="connsiteX27" fmla="*/ 8810499 w 9767847"/>
                <a:gd name="connsiteY27" fmla="*/ 5255703 h 6858000"/>
                <a:gd name="connsiteX28" fmla="*/ 8883571 w 9767847"/>
                <a:gd name="connsiteY28" fmla="*/ 5198479 h 6858000"/>
                <a:gd name="connsiteX29" fmla="*/ 9006651 w 9767847"/>
                <a:gd name="connsiteY29" fmla="*/ 5070527 h 6858000"/>
                <a:gd name="connsiteX30" fmla="*/ 9033494 w 9767847"/>
                <a:gd name="connsiteY30" fmla="*/ 5034105 h 6858000"/>
                <a:gd name="connsiteX31" fmla="*/ 9040305 w 9767847"/>
                <a:gd name="connsiteY31" fmla="*/ 5024551 h 6858000"/>
                <a:gd name="connsiteX32" fmla="*/ 9046568 w 9767847"/>
                <a:gd name="connsiteY32" fmla="*/ 5015281 h 6858000"/>
                <a:gd name="connsiteX33" fmla="*/ 9058846 w 9767847"/>
                <a:gd name="connsiteY33" fmla="*/ 4996645 h 6858000"/>
                <a:gd name="connsiteX34" fmla="*/ 9104529 w 9767847"/>
                <a:gd name="connsiteY34" fmla="*/ 4918105 h 6858000"/>
                <a:gd name="connsiteX35" fmla="*/ 9181081 w 9767847"/>
                <a:gd name="connsiteY35" fmla="*/ 4744694 h 6858000"/>
                <a:gd name="connsiteX36" fmla="*/ 9240731 w 9767847"/>
                <a:gd name="connsiteY36" fmla="*/ 4557872 h 6858000"/>
                <a:gd name="connsiteX37" fmla="*/ 9265388 w 9767847"/>
                <a:gd name="connsiteY37" fmla="*/ 4461073 h 6858000"/>
                <a:gd name="connsiteX38" fmla="*/ 9276571 w 9767847"/>
                <a:gd name="connsiteY38" fmla="*/ 4411943 h 6858000"/>
                <a:gd name="connsiteX39" fmla="*/ 9281841 w 9767847"/>
                <a:gd name="connsiteY39" fmla="*/ 4387379 h 6858000"/>
                <a:gd name="connsiteX40" fmla="*/ 9286513 w 9767847"/>
                <a:gd name="connsiteY40" fmla="*/ 4364838 h 6858000"/>
                <a:gd name="connsiteX41" fmla="*/ 9296754 w 9767847"/>
                <a:gd name="connsiteY41" fmla="*/ 4312038 h 6858000"/>
                <a:gd name="connsiteX42" fmla="*/ 9301029 w 9767847"/>
                <a:gd name="connsiteY42" fmla="*/ 4289074 h 6858000"/>
                <a:gd name="connsiteX43" fmla="*/ 9302818 w 9767847"/>
                <a:gd name="connsiteY43" fmla="*/ 4278581 h 6858000"/>
                <a:gd name="connsiteX44" fmla="*/ 9304658 w 9767847"/>
                <a:gd name="connsiteY44" fmla="*/ 4266816 h 6858000"/>
                <a:gd name="connsiteX45" fmla="*/ 9312810 w 9767847"/>
                <a:gd name="connsiteY45" fmla="*/ 4215945 h 6858000"/>
                <a:gd name="connsiteX46" fmla="*/ 9316887 w 9767847"/>
                <a:gd name="connsiteY46" fmla="*/ 4190486 h 6858000"/>
                <a:gd name="connsiteX47" fmla="*/ 9318923 w 9767847"/>
                <a:gd name="connsiteY47" fmla="*/ 4177780 h 6858000"/>
                <a:gd name="connsiteX48" fmla="*/ 9320515 w 9767847"/>
                <a:gd name="connsiteY48" fmla="*/ 4164886 h 6858000"/>
                <a:gd name="connsiteX49" fmla="*/ 9332445 w 9767847"/>
                <a:gd name="connsiteY49" fmla="*/ 4064981 h 6858000"/>
                <a:gd name="connsiteX50" fmla="*/ 9336173 w 9767847"/>
                <a:gd name="connsiteY50" fmla="*/ 4018676 h 6858000"/>
                <a:gd name="connsiteX51" fmla="*/ 9340199 w 9767847"/>
                <a:gd name="connsiteY51" fmla="*/ 3965171 h 6858000"/>
                <a:gd name="connsiteX52" fmla="*/ 9347557 w 9767847"/>
                <a:gd name="connsiteY52" fmla="*/ 3765972 h 6858000"/>
                <a:gd name="connsiteX53" fmla="*/ 9346364 w 9767847"/>
                <a:gd name="connsiteY53" fmla="*/ 3664938 h 6858000"/>
                <a:gd name="connsiteX54" fmla="*/ 9344921 w 9767847"/>
                <a:gd name="connsiteY54" fmla="*/ 3615243 h 6858000"/>
                <a:gd name="connsiteX55" fmla="*/ 9344524 w 9767847"/>
                <a:gd name="connsiteY55" fmla="*/ 3603526 h 6858000"/>
                <a:gd name="connsiteX56" fmla="*/ 9343728 w 9767847"/>
                <a:gd name="connsiteY56" fmla="*/ 3590774 h 6858000"/>
                <a:gd name="connsiteX57" fmla="*/ 9342188 w 9767847"/>
                <a:gd name="connsiteY57" fmla="*/ 3565268 h 6858000"/>
                <a:gd name="connsiteX58" fmla="*/ 9339056 w 9767847"/>
                <a:gd name="connsiteY58" fmla="*/ 3514256 h 6858000"/>
                <a:gd name="connsiteX59" fmla="*/ 9334334 w 9767847"/>
                <a:gd name="connsiteY59" fmla="*/ 3463057 h 6858000"/>
                <a:gd name="connsiteX60" fmla="*/ 9329363 w 9767847"/>
                <a:gd name="connsiteY60" fmla="*/ 3411810 h 6858000"/>
                <a:gd name="connsiteX61" fmla="*/ 9328319 w 9767847"/>
                <a:gd name="connsiteY61" fmla="*/ 3400657 h 6858000"/>
                <a:gd name="connsiteX62" fmla="*/ 9327177 w 9767847"/>
                <a:gd name="connsiteY62" fmla="*/ 3390116 h 6858000"/>
                <a:gd name="connsiteX63" fmla="*/ 9324293 w 9767847"/>
                <a:gd name="connsiteY63" fmla="*/ 3366774 h 6858000"/>
                <a:gd name="connsiteX64" fmla="*/ 9320763 w 9767847"/>
                <a:gd name="connsiteY64" fmla="*/ 3340329 h 6858000"/>
                <a:gd name="connsiteX65" fmla="*/ 9317184 w 9767847"/>
                <a:gd name="connsiteY65" fmla="*/ 3311245 h 6858000"/>
                <a:gd name="connsiteX66" fmla="*/ 9311021 w 9767847"/>
                <a:gd name="connsiteY66" fmla="*/ 3266211 h 6858000"/>
                <a:gd name="connsiteX67" fmla="*/ 9302719 w 9767847"/>
                <a:gd name="connsiteY67" fmla="*/ 3215717 h 6858000"/>
                <a:gd name="connsiteX68" fmla="*/ 9293970 w 9767847"/>
                <a:gd name="connsiteY68" fmla="*/ 3165789 h 6858000"/>
                <a:gd name="connsiteX69" fmla="*/ 9252065 w 9767847"/>
                <a:gd name="connsiteY69" fmla="*/ 2967107 h 6858000"/>
                <a:gd name="connsiteX70" fmla="*/ 9227211 w 9767847"/>
                <a:gd name="connsiteY70" fmla="*/ 2868473 h 6858000"/>
                <a:gd name="connsiteX71" fmla="*/ 9220699 w 9767847"/>
                <a:gd name="connsiteY71" fmla="*/ 2844426 h 6858000"/>
                <a:gd name="connsiteX72" fmla="*/ 9213740 w 9767847"/>
                <a:gd name="connsiteY72" fmla="*/ 2820191 h 6858000"/>
                <a:gd name="connsiteX73" fmla="*/ 9199374 w 9767847"/>
                <a:gd name="connsiteY73" fmla="*/ 2771438 h 6858000"/>
                <a:gd name="connsiteX74" fmla="*/ 9061829 w 9767847"/>
                <a:gd name="connsiteY74" fmla="*/ 2385418 h 6858000"/>
                <a:gd name="connsiteX75" fmla="*/ 8978865 w 9767847"/>
                <a:gd name="connsiteY75" fmla="*/ 2196855 h 6858000"/>
                <a:gd name="connsiteX76" fmla="*/ 8956694 w 9767847"/>
                <a:gd name="connsiteY76" fmla="*/ 2150219 h 6858000"/>
                <a:gd name="connsiteX77" fmla="*/ 8934176 w 9767847"/>
                <a:gd name="connsiteY77" fmla="*/ 2103914 h 6858000"/>
                <a:gd name="connsiteX78" fmla="*/ 8887151 w 9767847"/>
                <a:gd name="connsiteY78" fmla="*/ 2011350 h 6858000"/>
                <a:gd name="connsiteX79" fmla="*/ 8787533 w 9767847"/>
                <a:gd name="connsiteY79" fmla="*/ 1828527 h 6858000"/>
                <a:gd name="connsiteX80" fmla="*/ 8761485 w 9767847"/>
                <a:gd name="connsiteY80" fmla="*/ 1783398 h 6858000"/>
                <a:gd name="connsiteX81" fmla="*/ 8734791 w 9767847"/>
                <a:gd name="connsiteY81" fmla="*/ 1737893 h 6858000"/>
                <a:gd name="connsiteX82" fmla="*/ 8680808 w 9767847"/>
                <a:gd name="connsiteY82" fmla="*/ 1648812 h 6858000"/>
                <a:gd name="connsiteX83" fmla="*/ 8567024 w 9767847"/>
                <a:gd name="connsiteY83" fmla="*/ 1472906 h 6858000"/>
                <a:gd name="connsiteX84" fmla="*/ 8537446 w 9767847"/>
                <a:gd name="connsiteY84" fmla="*/ 1429330 h 6858000"/>
                <a:gd name="connsiteX85" fmla="*/ 8507423 w 9767847"/>
                <a:gd name="connsiteY85" fmla="*/ 1385896 h 6858000"/>
                <a:gd name="connsiteX86" fmla="*/ 8446529 w 9767847"/>
                <a:gd name="connsiteY86" fmla="*/ 1300295 h 6858000"/>
                <a:gd name="connsiteX87" fmla="*/ 8319224 w 9767847"/>
                <a:gd name="connsiteY87" fmla="*/ 1131026 h 6858000"/>
                <a:gd name="connsiteX88" fmla="*/ 8286366 w 9767847"/>
                <a:gd name="connsiteY88" fmla="*/ 1089050 h 6858000"/>
                <a:gd name="connsiteX89" fmla="*/ 8270161 w 9767847"/>
                <a:gd name="connsiteY89" fmla="*/ 1068439 h 6858000"/>
                <a:gd name="connsiteX90" fmla="*/ 8253856 w 9767847"/>
                <a:gd name="connsiteY90" fmla="*/ 1048156 h 6858000"/>
                <a:gd name="connsiteX91" fmla="*/ 8186352 w 9767847"/>
                <a:gd name="connsiteY91" fmla="*/ 966275 h 6858000"/>
                <a:gd name="connsiteX92" fmla="*/ 8046768 w 9767847"/>
                <a:gd name="connsiteY92" fmla="*/ 805429 h 6858000"/>
                <a:gd name="connsiteX93" fmla="*/ 8010927 w 9767847"/>
                <a:gd name="connsiteY93" fmla="*/ 765853 h 6858000"/>
                <a:gd name="connsiteX94" fmla="*/ 7974788 w 9767847"/>
                <a:gd name="connsiteY94" fmla="*/ 726653 h 6858000"/>
                <a:gd name="connsiteX95" fmla="*/ 7901070 w 9767847"/>
                <a:gd name="connsiteY95" fmla="*/ 648724 h 6858000"/>
                <a:gd name="connsiteX96" fmla="*/ 7750054 w 9767847"/>
                <a:gd name="connsiteY96" fmla="*/ 497008 h 6858000"/>
                <a:gd name="connsiteX97" fmla="*/ 7592277 w 9767847"/>
                <a:gd name="connsiteY97" fmla="*/ 351221 h 6858000"/>
                <a:gd name="connsiteX98" fmla="*/ 7257734 w 9767847"/>
                <a:gd name="connsiteY98" fmla="*/ 76964 h 6858000"/>
                <a:gd name="connsiteX99" fmla="*/ 1886601 w 9767847"/>
                <a:gd name="connsiteY99" fmla="*/ 0 h 6858000"/>
                <a:gd name="connsiteX100" fmla="*/ 2292926 w 9767847"/>
                <a:gd name="connsiteY100" fmla="*/ 0 h 6858000"/>
                <a:gd name="connsiteX101" fmla="*/ 2135542 w 9767847"/>
                <a:gd name="connsiteY101" fmla="*/ 117781 h 6858000"/>
                <a:gd name="connsiteX102" fmla="*/ 1969576 w 9767847"/>
                <a:gd name="connsiteY102" fmla="*/ 254986 h 6858000"/>
                <a:gd name="connsiteX103" fmla="*/ 1659938 w 9767847"/>
                <a:gd name="connsiteY103" fmla="*/ 549855 h 6858000"/>
                <a:gd name="connsiteX104" fmla="*/ 729383 w 9767847"/>
                <a:gd name="connsiteY104" fmla="*/ 1936480 h 6858000"/>
                <a:gd name="connsiteX105" fmla="*/ 578465 w 9767847"/>
                <a:gd name="connsiteY105" fmla="*/ 2320807 h 6858000"/>
                <a:gd name="connsiteX106" fmla="*/ 465080 w 9767847"/>
                <a:gd name="connsiteY106" fmla="*/ 2714875 h 6858000"/>
                <a:gd name="connsiteX107" fmla="*/ 423820 w 9767847"/>
                <a:gd name="connsiteY107" fmla="*/ 2915436 h 6858000"/>
                <a:gd name="connsiteX108" fmla="*/ 392355 w 9767847"/>
                <a:gd name="connsiteY108" fmla="*/ 3118071 h 6858000"/>
                <a:gd name="connsiteX109" fmla="*/ 358801 w 9767847"/>
                <a:gd name="connsiteY109" fmla="*/ 3526915 h 6858000"/>
                <a:gd name="connsiteX110" fmla="*/ 410350 w 9767847"/>
                <a:gd name="connsiteY110" fmla="*/ 4348226 h 6858000"/>
                <a:gd name="connsiteX111" fmla="*/ 449022 w 9767847"/>
                <a:gd name="connsiteY111" fmla="*/ 4551049 h 6858000"/>
                <a:gd name="connsiteX112" fmla="*/ 498882 w 9767847"/>
                <a:gd name="connsiteY112" fmla="*/ 4752365 h 6858000"/>
                <a:gd name="connsiteX113" fmla="*/ 559775 w 9767847"/>
                <a:gd name="connsiteY113" fmla="*/ 4951657 h 6858000"/>
                <a:gd name="connsiteX114" fmla="*/ 631406 w 9767847"/>
                <a:gd name="connsiteY114" fmla="*/ 5147986 h 6858000"/>
                <a:gd name="connsiteX115" fmla="*/ 1023461 w 9767847"/>
                <a:gd name="connsiteY115" fmla="*/ 5893957 h 6858000"/>
                <a:gd name="connsiteX116" fmla="*/ 1575880 w 9767847"/>
                <a:gd name="connsiteY116" fmla="*/ 6547646 h 6858000"/>
                <a:gd name="connsiteX117" fmla="*/ 1905228 w 9767847"/>
                <a:gd name="connsiteY117" fmla="*/ 6829468 h 6858000"/>
                <a:gd name="connsiteX118" fmla="*/ 1944230 w 9767847"/>
                <a:gd name="connsiteY118" fmla="*/ 6858000 h 6858000"/>
                <a:gd name="connsiteX119" fmla="*/ 1372541 w 9767847"/>
                <a:gd name="connsiteY119" fmla="*/ 6858000 h 6858000"/>
                <a:gd name="connsiteX120" fmla="*/ 1115251 w 9767847"/>
                <a:gd name="connsiteY120" fmla="*/ 6590005 h 6858000"/>
                <a:gd name="connsiteX121" fmla="*/ 0 w 9767847"/>
                <a:gd name="connsiteY121" fmla="*/ 3649031 h 6858000"/>
                <a:gd name="connsiteX122" fmla="*/ 1777294 w 9767847"/>
                <a:gd name="connsiteY122" fmla="*/ 813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9767847" h="6858000">
                  <a:moveTo>
                    <a:pt x="7151367" y="0"/>
                  </a:moveTo>
                  <a:lnTo>
                    <a:pt x="7881247" y="0"/>
                  </a:lnTo>
                  <a:lnTo>
                    <a:pt x="7990553" y="81317"/>
                  </a:lnTo>
                  <a:cubicBezTo>
                    <a:pt x="9075991" y="929334"/>
                    <a:pt x="9767847" y="2212695"/>
                    <a:pt x="9767847" y="3649031"/>
                  </a:cubicBezTo>
                  <a:cubicBezTo>
                    <a:pt x="9767847" y="4766182"/>
                    <a:pt x="9349317" y="5790792"/>
                    <a:pt x="8652597" y="6590005"/>
                  </a:cubicBezTo>
                  <a:lnTo>
                    <a:pt x="8395306" y="6858000"/>
                  </a:lnTo>
                  <a:lnTo>
                    <a:pt x="6762603" y="6858000"/>
                  </a:lnTo>
                  <a:lnTo>
                    <a:pt x="6765962" y="6854844"/>
                  </a:lnTo>
                  <a:cubicBezTo>
                    <a:pt x="6779036" y="6842703"/>
                    <a:pt x="6791663" y="6829621"/>
                    <a:pt x="6804586" y="6817103"/>
                  </a:cubicBezTo>
                  <a:lnTo>
                    <a:pt x="6881735" y="6741197"/>
                  </a:lnTo>
                  <a:cubicBezTo>
                    <a:pt x="6907435" y="6715881"/>
                    <a:pt x="6933134" y="6690798"/>
                    <a:pt x="6958883" y="6664822"/>
                  </a:cubicBezTo>
                  <a:lnTo>
                    <a:pt x="7267925" y="6355694"/>
                  </a:lnTo>
                  <a:lnTo>
                    <a:pt x="7424360" y="6200685"/>
                  </a:lnTo>
                  <a:cubicBezTo>
                    <a:pt x="7450754" y="6174802"/>
                    <a:pt x="7477598" y="6148731"/>
                    <a:pt x="7504938" y="6122708"/>
                  </a:cubicBezTo>
                  <a:lnTo>
                    <a:pt x="7546396" y="6083697"/>
                  </a:lnTo>
                  <a:cubicBezTo>
                    <a:pt x="7560264" y="6070803"/>
                    <a:pt x="7574780" y="6057532"/>
                    <a:pt x="7588002" y="6045532"/>
                  </a:cubicBezTo>
                  <a:lnTo>
                    <a:pt x="7631000" y="6006709"/>
                  </a:lnTo>
                  <a:lnTo>
                    <a:pt x="7675440" y="5968309"/>
                  </a:lnTo>
                  <a:cubicBezTo>
                    <a:pt x="7690404" y="5955698"/>
                    <a:pt x="7705564" y="5943321"/>
                    <a:pt x="7720626" y="5930851"/>
                  </a:cubicBezTo>
                  <a:cubicBezTo>
                    <a:pt x="7735738" y="5918427"/>
                    <a:pt x="7751197" y="5906521"/>
                    <a:pt x="7766458" y="5894334"/>
                  </a:cubicBezTo>
                  <a:cubicBezTo>
                    <a:pt x="7827949" y="5846192"/>
                    <a:pt x="7890979" y="5800499"/>
                    <a:pt x="7955254" y="5756828"/>
                  </a:cubicBezTo>
                  <a:cubicBezTo>
                    <a:pt x="8083800" y="5669534"/>
                    <a:pt x="8216872" y="5590336"/>
                    <a:pt x="8352678" y="5517630"/>
                  </a:cubicBezTo>
                  <a:lnTo>
                    <a:pt x="8451350" y="5465254"/>
                  </a:lnTo>
                  <a:lnTo>
                    <a:pt x="8548532" y="5413395"/>
                  </a:lnTo>
                  <a:cubicBezTo>
                    <a:pt x="8612110" y="5379090"/>
                    <a:pt x="8673251" y="5345208"/>
                    <a:pt x="8729473" y="5309961"/>
                  </a:cubicBezTo>
                  <a:cubicBezTo>
                    <a:pt x="8743591" y="5301115"/>
                    <a:pt x="8757161" y="5292361"/>
                    <a:pt x="8770781" y="5283232"/>
                  </a:cubicBezTo>
                  <a:cubicBezTo>
                    <a:pt x="8777591" y="5278667"/>
                    <a:pt x="8784451" y="5274103"/>
                    <a:pt x="8790964" y="5269492"/>
                  </a:cubicBezTo>
                  <a:cubicBezTo>
                    <a:pt x="8797574" y="5264879"/>
                    <a:pt x="8804235" y="5260314"/>
                    <a:pt x="8810499" y="5255703"/>
                  </a:cubicBezTo>
                  <a:cubicBezTo>
                    <a:pt x="8835999" y="5237303"/>
                    <a:pt x="8860407" y="5218291"/>
                    <a:pt x="8883571" y="5198479"/>
                  </a:cubicBezTo>
                  <a:cubicBezTo>
                    <a:pt x="8929900" y="5158856"/>
                    <a:pt x="8971258" y="5116315"/>
                    <a:pt x="9006651" y="5070527"/>
                  </a:cubicBezTo>
                  <a:cubicBezTo>
                    <a:pt x="9015351" y="5059328"/>
                    <a:pt x="9024398" y="5046857"/>
                    <a:pt x="9033494" y="5034105"/>
                  </a:cubicBezTo>
                  <a:lnTo>
                    <a:pt x="9040305" y="5024551"/>
                  </a:lnTo>
                  <a:lnTo>
                    <a:pt x="9046568" y="5015281"/>
                  </a:lnTo>
                  <a:cubicBezTo>
                    <a:pt x="9050743" y="5009163"/>
                    <a:pt x="9054819" y="5002952"/>
                    <a:pt x="9058846" y="4996645"/>
                  </a:cubicBezTo>
                  <a:cubicBezTo>
                    <a:pt x="9075002" y="4971517"/>
                    <a:pt x="9090212" y="4945305"/>
                    <a:pt x="9104529" y="4918105"/>
                  </a:cubicBezTo>
                  <a:cubicBezTo>
                    <a:pt x="9133211" y="4863752"/>
                    <a:pt x="9158313" y="4805447"/>
                    <a:pt x="9181081" y="4744694"/>
                  </a:cubicBezTo>
                  <a:cubicBezTo>
                    <a:pt x="9203748" y="4684178"/>
                    <a:pt x="9223383" y="4621778"/>
                    <a:pt x="9240731" y="4557872"/>
                  </a:cubicBezTo>
                  <a:cubicBezTo>
                    <a:pt x="9249481" y="4525966"/>
                    <a:pt x="9257682" y="4493684"/>
                    <a:pt x="9265388" y="4461073"/>
                  </a:cubicBezTo>
                  <a:cubicBezTo>
                    <a:pt x="9269215" y="4444744"/>
                    <a:pt x="9272943" y="4428367"/>
                    <a:pt x="9276571" y="4411943"/>
                  </a:cubicBezTo>
                  <a:lnTo>
                    <a:pt x="9281841" y="4387379"/>
                  </a:lnTo>
                  <a:lnTo>
                    <a:pt x="9286513" y="4364838"/>
                  </a:lnTo>
                  <a:lnTo>
                    <a:pt x="9296754" y="4312038"/>
                  </a:lnTo>
                  <a:lnTo>
                    <a:pt x="9301029" y="4289074"/>
                  </a:lnTo>
                  <a:lnTo>
                    <a:pt x="9302818" y="4278581"/>
                  </a:lnTo>
                  <a:lnTo>
                    <a:pt x="9304658" y="4266816"/>
                  </a:lnTo>
                  <a:lnTo>
                    <a:pt x="9312810" y="4215945"/>
                  </a:lnTo>
                  <a:lnTo>
                    <a:pt x="9316887" y="4190486"/>
                  </a:lnTo>
                  <a:lnTo>
                    <a:pt x="9318923" y="4177780"/>
                  </a:lnTo>
                  <a:cubicBezTo>
                    <a:pt x="9319570" y="4173546"/>
                    <a:pt x="9319969" y="4169169"/>
                    <a:pt x="9320515" y="4164886"/>
                  </a:cubicBezTo>
                  <a:lnTo>
                    <a:pt x="9332445" y="4064981"/>
                  </a:lnTo>
                  <a:cubicBezTo>
                    <a:pt x="9333836" y="4052370"/>
                    <a:pt x="9334880" y="4036888"/>
                    <a:pt x="9336173" y="4018676"/>
                  </a:cubicBezTo>
                  <a:lnTo>
                    <a:pt x="9340199" y="3965171"/>
                  </a:lnTo>
                  <a:cubicBezTo>
                    <a:pt x="9345071" y="3899806"/>
                    <a:pt x="9347358" y="3832983"/>
                    <a:pt x="9347557" y="3765972"/>
                  </a:cubicBezTo>
                  <a:cubicBezTo>
                    <a:pt x="9347656" y="3732420"/>
                    <a:pt x="9347209" y="3698773"/>
                    <a:pt x="9346364" y="3664938"/>
                  </a:cubicBezTo>
                  <a:lnTo>
                    <a:pt x="9344921" y="3615243"/>
                  </a:lnTo>
                  <a:lnTo>
                    <a:pt x="9344524" y="3603526"/>
                  </a:lnTo>
                  <a:lnTo>
                    <a:pt x="9343728" y="3590774"/>
                  </a:lnTo>
                  <a:lnTo>
                    <a:pt x="9342188" y="3565268"/>
                  </a:lnTo>
                  <a:lnTo>
                    <a:pt x="9339056" y="3514256"/>
                  </a:lnTo>
                  <a:cubicBezTo>
                    <a:pt x="9337914" y="3497221"/>
                    <a:pt x="9335874" y="3480138"/>
                    <a:pt x="9334334" y="3463057"/>
                  </a:cubicBezTo>
                  <a:lnTo>
                    <a:pt x="9329363" y="3411810"/>
                  </a:lnTo>
                  <a:lnTo>
                    <a:pt x="9328319" y="3400657"/>
                  </a:lnTo>
                  <a:lnTo>
                    <a:pt x="9327177" y="3390116"/>
                  </a:lnTo>
                  <a:lnTo>
                    <a:pt x="9324293" y="3366774"/>
                  </a:lnTo>
                  <a:lnTo>
                    <a:pt x="9320763" y="3340329"/>
                  </a:lnTo>
                  <a:lnTo>
                    <a:pt x="9317184" y="3311245"/>
                  </a:lnTo>
                  <a:cubicBezTo>
                    <a:pt x="9315594" y="3296893"/>
                    <a:pt x="9313506" y="3282306"/>
                    <a:pt x="9311021" y="3266211"/>
                  </a:cubicBezTo>
                  <a:lnTo>
                    <a:pt x="9302719" y="3215717"/>
                  </a:lnTo>
                  <a:cubicBezTo>
                    <a:pt x="9299936" y="3199059"/>
                    <a:pt x="9297003" y="3182400"/>
                    <a:pt x="9293970" y="3165789"/>
                  </a:cubicBezTo>
                  <a:cubicBezTo>
                    <a:pt x="9281891" y="3099295"/>
                    <a:pt x="9267674" y="3033084"/>
                    <a:pt x="9252065" y="2967107"/>
                  </a:cubicBezTo>
                  <a:cubicBezTo>
                    <a:pt x="9244261" y="2934167"/>
                    <a:pt x="9235959" y="2901273"/>
                    <a:pt x="9227211" y="2868473"/>
                  </a:cubicBezTo>
                  <a:lnTo>
                    <a:pt x="9220699" y="2844426"/>
                  </a:lnTo>
                  <a:lnTo>
                    <a:pt x="9213740" y="2820191"/>
                  </a:lnTo>
                  <a:cubicBezTo>
                    <a:pt x="9209216" y="2804049"/>
                    <a:pt x="9204345" y="2787768"/>
                    <a:pt x="9199374" y="2771438"/>
                  </a:cubicBezTo>
                  <a:cubicBezTo>
                    <a:pt x="9159855" y="2641086"/>
                    <a:pt x="9114272" y="2512099"/>
                    <a:pt x="9061829" y="2385418"/>
                  </a:cubicBezTo>
                  <a:cubicBezTo>
                    <a:pt x="9035582" y="2322077"/>
                    <a:pt x="9008043" y="2259160"/>
                    <a:pt x="8978865" y="2196855"/>
                  </a:cubicBezTo>
                  <a:lnTo>
                    <a:pt x="8956694" y="2150219"/>
                  </a:lnTo>
                  <a:lnTo>
                    <a:pt x="8934176" y="2103914"/>
                  </a:lnTo>
                  <a:cubicBezTo>
                    <a:pt x="8918915" y="2073091"/>
                    <a:pt x="8903157" y="2042032"/>
                    <a:pt x="8887151" y="2011350"/>
                  </a:cubicBezTo>
                  <a:cubicBezTo>
                    <a:pt x="8854988" y="1949891"/>
                    <a:pt x="8822082" y="1888810"/>
                    <a:pt x="8787533" y="1828527"/>
                  </a:cubicBezTo>
                  <a:lnTo>
                    <a:pt x="8761485" y="1783398"/>
                  </a:lnTo>
                  <a:lnTo>
                    <a:pt x="8734791" y="1737893"/>
                  </a:lnTo>
                  <a:cubicBezTo>
                    <a:pt x="8717047" y="1707823"/>
                    <a:pt x="8699200" y="1678363"/>
                    <a:pt x="8680808" y="1648812"/>
                  </a:cubicBezTo>
                  <a:cubicBezTo>
                    <a:pt x="8644322" y="1589658"/>
                    <a:pt x="8606194" y="1531118"/>
                    <a:pt x="8567024" y="1472906"/>
                  </a:cubicBezTo>
                  <a:lnTo>
                    <a:pt x="8537446" y="1429330"/>
                  </a:lnTo>
                  <a:lnTo>
                    <a:pt x="8507423" y="1385896"/>
                  </a:lnTo>
                  <a:cubicBezTo>
                    <a:pt x="8487390" y="1357284"/>
                    <a:pt x="8467158" y="1328719"/>
                    <a:pt x="8446529" y="1300295"/>
                  </a:cubicBezTo>
                  <a:cubicBezTo>
                    <a:pt x="8405271" y="1243496"/>
                    <a:pt x="8362718" y="1187120"/>
                    <a:pt x="8319224" y="1131026"/>
                  </a:cubicBezTo>
                  <a:lnTo>
                    <a:pt x="8286366" y="1089050"/>
                  </a:lnTo>
                  <a:lnTo>
                    <a:pt x="8270161" y="1068439"/>
                  </a:lnTo>
                  <a:lnTo>
                    <a:pt x="8253856" y="1048156"/>
                  </a:lnTo>
                  <a:cubicBezTo>
                    <a:pt x="8231636" y="1020675"/>
                    <a:pt x="8209117" y="993381"/>
                    <a:pt x="8186352" y="966275"/>
                  </a:cubicBezTo>
                  <a:cubicBezTo>
                    <a:pt x="8140917" y="911922"/>
                    <a:pt x="8094240" y="858417"/>
                    <a:pt x="8046768" y="805429"/>
                  </a:cubicBezTo>
                  <a:lnTo>
                    <a:pt x="8010927" y="765853"/>
                  </a:lnTo>
                  <a:lnTo>
                    <a:pt x="7974788" y="726653"/>
                  </a:lnTo>
                  <a:cubicBezTo>
                    <a:pt x="7950382" y="700489"/>
                    <a:pt x="7925824" y="674465"/>
                    <a:pt x="7901070" y="648724"/>
                  </a:cubicBezTo>
                  <a:cubicBezTo>
                    <a:pt x="7851510" y="597289"/>
                    <a:pt x="7801404" y="546514"/>
                    <a:pt x="7750054" y="497008"/>
                  </a:cubicBezTo>
                  <a:cubicBezTo>
                    <a:pt x="7698902" y="447644"/>
                    <a:pt x="7645913" y="398938"/>
                    <a:pt x="7592277" y="351221"/>
                  </a:cubicBezTo>
                  <a:cubicBezTo>
                    <a:pt x="7484856" y="255786"/>
                    <a:pt x="7373308" y="164304"/>
                    <a:pt x="7257734" y="76964"/>
                  </a:cubicBezTo>
                  <a:close/>
                  <a:moveTo>
                    <a:pt x="1886601" y="0"/>
                  </a:moveTo>
                  <a:lnTo>
                    <a:pt x="2292926" y="0"/>
                  </a:lnTo>
                  <a:lnTo>
                    <a:pt x="2135542" y="117781"/>
                  </a:lnTo>
                  <a:cubicBezTo>
                    <a:pt x="2078998" y="162280"/>
                    <a:pt x="2023659" y="208045"/>
                    <a:pt x="1969576" y="254986"/>
                  </a:cubicBezTo>
                  <a:cubicBezTo>
                    <a:pt x="1861309" y="348820"/>
                    <a:pt x="1758064" y="447314"/>
                    <a:pt x="1659938" y="549855"/>
                  </a:cubicBezTo>
                  <a:cubicBezTo>
                    <a:pt x="1266987" y="960346"/>
                    <a:pt x="953820" y="1431495"/>
                    <a:pt x="729383" y="1936480"/>
                  </a:cubicBezTo>
                  <a:cubicBezTo>
                    <a:pt x="673260" y="2062362"/>
                    <a:pt x="622855" y="2190972"/>
                    <a:pt x="578465" y="2320807"/>
                  </a:cubicBezTo>
                  <a:cubicBezTo>
                    <a:pt x="534125" y="2450687"/>
                    <a:pt x="496147" y="2582216"/>
                    <a:pt x="465080" y="2714875"/>
                  </a:cubicBezTo>
                  <a:cubicBezTo>
                    <a:pt x="449769" y="2780991"/>
                    <a:pt x="435850" y="2848191"/>
                    <a:pt x="423820" y="2915436"/>
                  </a:cubicBezTo>
                  <a:cubicBezTo>
                    <a:pt x="411840" y="2982731"/>
                    <a:pt x="401054" y="3050260"/>
                    <a:pt x="392355" y="3118071"/>
                  </a:cubicBezTo>
                  <a:cubicBezTo>
                    <a:pt x="374509" y="3253646"/>
                    <a:pt x="363424" y="3389880"/>
                    <a:pt x="358801" y="3526915"/>
                  </a:cubicBezTo>
                  <a:cubicBezTo>
                    <a:pt x="349009" y="3800843"/>
                    <a:pt x="366357" y="4075570"/>
                    <a:pt x="410350" y="4348226"/>
                  </a:cubicBezTo>
                  <a:cubicBezTo>
                    <a:pt x="421286" y="4416132"/>
                    <a:pt x="434209" y="4483660"/>
                    <a:pt x="449022" y="4551049"/>
                  </a:cubicBezTo>
                  <a:cubicBezTo>
                    <a:pt x="463737" y="4618436"/>
                    <a:pt x="480389" y="4685588"/>
                    <a:pt x="498882" y="4752365"/>
                  </a:cubicBezTo>
                  <a:cubicBezTo>
                    <a:pt x="517373" y="4819141"/>
                    <a:pt x="537704" y="4885635"/>
                    <a:pt x="559775" y="4951657"/>
                  </a:cubicBezTo>
                  <a:cubicBezTo>
                    <a:pt x="581946" y="5017775"/>
                    <a:pt x="605358" y="5083375"/>
                    <a:pt x="631406" y="5147986"/>
                  </a:cubicBezTo>
                  <a:cubicBezTo>
                    <a:pt x="734055" y="5407608"/>
                    <a:pt x="865188" y="5658570"/>
                    <a:pt x="1023461" y="5893957"/>
                  </a:cubicBezTo>
                  <a:cubicBezTo>
                    <a:pt x="1181487" y="6129578"/>
                    <a:pt x="1367051" y="6349247"/>
                    <a:pt x="1575880" y="6547646"/>
                  </a:cubicBezTo>
                  <a:cubicBezTo>
                    <a:pt x="1680269" y="6646916"/>
                    <a:pt x="1790338" y="6740939"/>
                    <a:pt x="1905228" y="6829468"/>
                  </a:cubicBezTo>
                  <a:lnTo>
                    <a:pt x="1944230" y="6858000"/>
                  </a:lnTo>
                  <a:lnTo>
                    <a:pt x="1372541" y="6858000"/>
                  </a:lnTo>
                  <a:lnTo>
                    <a:pt x="1115251" y="6590005"/>
                  </a:lnTo>
                  <a:cubicBezTo>
                    <a:pt x="418530" y="5790792"/>
                    <a:pt x="0" y="4766182"/>
                    <a:pt x="0" y="3649031"/>
                  </a:cubicBezTo>
                  <a:cubicBezTo>
                    <a:pt x="0" y="2212695"/>
                    <a:pt x="691856" y="929334"/>
                    <a:pt x="1777294" y="81317"/>
                  </a:cubicBezTo>
                  <a:close/>
                </a:path>
              </a:pathLst>
            </a:cu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itle 1">
            <a:extLst>
              <a:ext uri="{FF2B5EF4-FFF2-40B4-BE49-F238E27FC236}">
                <a16:creationId xmlns:a16="http://schemas.microsoft.com/office/drawing/2014/main" id="{38C5394D-7538-B28B-1F6C-324AB86BA665}"/>
              </a:ext>
            </a:extLst>
          </p:cNvPr>
          <p:cNvSpPr>
            <a:spLocks noGrp="1"/>
          </p:cNvSpPr>
          <p:nvPr>
            <p:ph type="title"/>
          </p:nvPr>
        </p:nvSpPr>
        <p:spPr>
          <a:xfrm>
            <a:off x="630289" y="1215767"/>
            <a:ext cx="8065008" cy="869065"/>
          </a:xfrm>
        </p:spPr>
        <p:txBody>
          <a:bodyPr vert="horz" lIns="91440" tIns="45720" rIns="91440" bIns="45720" rtlCol="0" anchor="b">
            <a:normAutofit/>
          </a:bodyPr>
          <a:lstStyle/>
          <a:p>
            <a:pPr algn="ctr" defTabSz="914400"/>
            <a:r>
              <a:rPr lang="en-US" sz="4500" b="1" kern="1200">
                <a:solidFill>
                  <a:schemeClr val="tx2"/>
                </a:solidFill>
                <a:effectLst>
                  <a:outerShdw blurRad="38100" dist="38100" dir="2700000" algn="tl">
                    <a:srgbClr val="000000">
                      <a:alpha val="43137"/>
                    </a:srgbClr>
                  </a:outerShdw>
                </a:effectLst>
                <a:latin typeface="+mj-lt"/>
                <a:ea typeface="+mj-ea"/>
                <a:cs typeface="+mj-cs"/>
              </a:rPr>
              <a:t>Supportive Technology at DDS</a:t>
            </a:r>
          </a:p>
        </p:txBody>
      </p:sp>
      <p:sp>
        <p:nvSpPr>
          <p:cNvPr id="3" name="Slide Number Placeholder 2">
            <a:extLst>
              <a:ext uri="{FF2B5EF4-FFF2-40B4-BE49-F238E27FC236}">
                <a16:creationId xmlns:a16="http://schemas.microsoft.com/office/drawing/2014/main" id="{C10EDFB5-1923-346D-2850-B03500FA1A12}"/>
              </a:ext>
            </a:extLst>
          </p:cNvPr>
          <p:cNvSpPr>
            <a:spLocks noGrp="1"/>
          </p:cNvSpPr>
          <p:nvPr>
            <p:ph type="sldNum" sz="quarter" idx="12"/>
          </p:nvPr>
        </p:nvSpPr>
        <p:spPr>
          <a:xfrm>
            <a:off x="6457950" y="6356350"/>
            <a:ext cx="2057400" cy="365125"/>
          </a:xfrm>
        </p:spPr>
        <p:txBody>
          <a:bodyPr vert="horz" lIns="91440" tIns="45720" rIns="91440" bIns="45720" rtlCol="0" anchor="ctr">
            <a:normAutofit/>
          </a:bodyPr>
          <a:lstStyle/>
          <a:p>
            <a:pPr>
              <a:spcAft>
                <a:spcPts val="600"/>
              </a:spcAft>
              <a:defRPr/>
            </a:pPr>
            <a:fld id="{9C0CE6A8-29A4-4DCA-8DF6-58DCCC5D35C7}" type="slidenum">
              <a:rPr lang="en-US" sz="1200" b="1" smtClean="0">
                <a:latin typeface="+mn-lt"/>
              </a:rPr>
              <a:pPr>
                <a:spcAft>
                  <a:spcPts val="600"/>
                </a:spcAft>
                <a:defRPr/>
              </a:pPr>
              <a:t>11</a:t>
            </a:fld>
            <a:endParaRPr lang="en-US" sz="1200" b="1">
              <a:latin typeface="+mn-lt"/>
            </a:endParaRPr>
          </a:p>
        </p:txBody>
      </p:sp>
      <p:sp>
        <p:nvSpPr>
          <p:cNvPr id="4" name="TextBox 3">
            <a:extLst>
              <a:ext uri="{FF2B5EF4-FFF2-40B4-BE49-F238E27FC236}">
                <a16:creationId xmlns:a16="http://schemas.microsoft.com/office/drawing/2014/main" id="{866AC796-F09E-089D-6B63-90B60A324568}"/>
              </a:ext>
            </a:extLst>
          </p:cNvPr>
          <p:cNvSpPr txBox="1"/>
          <p:nvPr/>
        </p:nvSpPr>
        <p:spPr>
          <a:xfrm>
            <a:off x="981010" y="2095513"/>
            <a:ext cx="7526525" cy="2677656"/>
          </a:xfrm>
          <a:prstGeom prst="rect">
            <a:avLst/>
          </a:prstGeom>
          <a:noFill/>
        </p:spPr>
        <p:txBody>
          <a:bodyPr wrap="square" lIns="91440" tIns="45720" rIns="91440" bIns="45720" rtlCol="0" anchor="t">
            <a:spAutoFit/>
          </a:bodyPr>
          <a:lstStyle/>
          <a:p>
            <a:pPr algn="ctr"/>
            <a:r>
              <a:rPr lang="en-US" sz="2400">
                <a:latin typeface="Arial"/>
                <a:cs typeface="Arial"/>
              </a:rPr>
              <a:t>3 Areas under Supportive Technology</a:t>
            </a:r>
          </a:p>
          <a:p>
            <a:endParaRPr lang="en-US" sz="2400"/>
          </a:p>
          <a:p>
            <a:pPr marL="285750" indent="-285750">
              <a:buFontTx/>
              <a:buChar char="-"/>
            </a:pPr>
            <a:r>
              <a:rPr lang="en-US" sz="2400">
                <a:latin typeface="Arial"/>
                <a:cs typeface="Arial"/>
              </a:rPr>
              <a:t>Assistive Technology (AT) Assessments &amp; Services</a:t>
            </a:r>
            <a:endParaRPr lang="en-US" sz="2400">
              <a:cs typeface="Arial"/>
            </a:endParaRPr>
          </a:p>
          <a:p>
            <a:pPr marL="285750" indent="-285750">
              <a:buFontTx/>
              <a:buChar char="-"/>
            </a:pPr>
            <a:endParaRPr lang="en-US" sz="2400"/>
          </a:p>
          <a:p>
            <a:pPr marL="285750" indent="-285750">
              <a:buFontTx/>
              <a:buChar char="-"/>
            </a:pPr>
            <a:r>
              <a:rPr lang="en-US" sz="2400">
                <a:latin typeface="Arial"/>
                <a:cs typeface="Arial"/>
              </a:rPr>
              <a:t>Remote Supports and Monitoring (RSM)</a:t>
            </a:r>
          </a:p>
          <a:p>
            <a:pPr marL="285750" indent="-285750">
              <a:buFontTx/>
              <a:buChar char="-"/>
            </a:pPr>
            <a:endParaRPr lang="en-US" sz="2400"/>
          </a:p>
          <a:p>
            <a:pPr marL="285750" indent="-285750">
              <a:buFontTx/>
              <a:buChar char="-"/>
            </a:pPr>
            <a:r>
              <a:rPr lang="en-US" sz="2400">
                <a:latin typeface="Arial"/>
                <a:cs typeface="Arial"/>
              </a:rPr>
              <a:t>Assistive Technology Centers (ATC)</a:t>
            </a:r>
          </a:p>
        </p:txBody>
      </p:sp>
    </p:spTree>
    <p:extLst>
      <p:ext uri="{BB962C8B-B14F-4D97-AF65-F5344CB8AC3E}">
        <p14:creationId xmlns:p14="http://schemas.microsoft.com/office/powerpoint/2010/main" val="6091500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24104-6AFD-1C3C-50F7-4D905145ED2D}"/>
              </a:ext>
            </a:extLst>
          </p:cNvPr>
          <p:cNvSpPr>
            <a:spLocks noGrp="1"/>
          </p:cNvSpPr>
          <p:nvPr>
            <p:ph type="ctrTitle"/>
          </p:nvPr>
        </p:nvSpPr>
        <p:spPr>
          <a:xfrm>
            <a:off x="603504" y="803881"/>
            <a:ext cx="7799832" cy="1006429"/>
          </a:xfrm>
        </p:spPr>
        <p:txBody>
          <a:bodyPr/>
          <a:lstStyle/>
          <a:p>
            <a:r>
              <a:rPr lang="en-US"/>
              <a:t>Assistive Technology Services involve 3 distinct components</a:t>
            </a:r>
          </a:p>
        </p:txBody>
      </p:sp>
      <p:sp>
        <p:nvSpPr>
          <p:cNvPr id="4" name="TextBox 3">
            <a:extLst>
              <a:ext uri="{FF2B5EF4-FFF2-40B4-BE49-F238E27FC236}">
                <a16:creationId xmlns:a16="http://schemas.microsoft.com/office/drawing/2014/main" id="{B2B223D6-2553-F57F-A1B5-0466852F2DED}"/>
              </a:ext>
            </a:extLst>
          </p:cNvPr>
          <p:cNvSpPr txBox="1"/>
          <p:nvPr/>
        </p:nvSpPr>
        <p:spPr>
          <a:xfrm>
            <a:off x="603504" y="1810310"/>
            <a:ext cx="8065008" cy="3970318"/>
          </a:xfrm>
          <a:prstGeom prst="rect">
            <a:avLst/>
          </a:prstGeom>
          <a:noFill/>
        </p:spPr>
        <p:txBody>
          <a:bodyPr wrap="square" rtlCol="0">
            <a:spAutoFit/>
          </a:bodyPr>
          <a:lstStyle/>
          <a:p>
            <a:r>
              <a:rPr lang="en-US" b="1"/>
              <a:t>Assistive Technology consultation/evaluation </a:t>
            </a:r>
            <a:r>
              <a:rPr lang="en-US"/>
              <a:t>– The individual is referred by their Service Coordinator to engage in an assessment of need by a qualified AT Provider of their choice. Needs focus on domain areas where functional improvements can be made with AT.</a:t>
            </a:r>
          </a:p>
          <a:p>
            <a:endParaRPr lang="en-US"/>
          </a:p>
          <a:p>
            <a:r>
              <a:rPr lang="en-US" b="1"/>
              <a:t>Assistive Technology devices </a:t>
            </a:r>
            <a:r>
              <a:rPr lang="en-US"/>
              <a:t>- The cost of assistive technology equipment or devices (e.g. door alarm, stove sensors) purchased per the AT evaluation and the related goals. Various funding options are explored, including DDS.​</a:t>
            </a:r>
          </a:p>
          <a:p>
            <a:endParaRPr lang="en-US" b="1"/>
          </a:p>
          <a:p>
            <a:r>
              <a:rPr lang="en-US" b="1"/>
              <a:t>Assistive technology training/support </a:t>
            </a:r>
            <a:r>
              <a:rPr lang="en-US"/>
              <a:t>- This is the set-up of AT equipment, education and training how to use the assistive technology, as well as training for the individual's support network (paid/unpaid) or who are otherwise substantially involved in activities being supported by the assistive technology equipment.</a:t>
            </a:r>
          </a:p>
        </p:txBody>
      </p:sp>
    </p:spTree>
    <p:extLst>
      <p:ext uri="{BB962C8B-B14F-4D97-AF65-F5344CB8AC3E}">
        <p14:creationId xmlns:p14="http://schemas.microsoft.com/office/powerpoint/2010/main" val="38007804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653415" y="1502272"/>
            <a:ext cx="4504644" cy="829158"/>
          </a:xfrm>
        </p:spPr>
        <p:txBody>
          <a:bodyPr lIns="91440" tIns="45720" rIns="91440" bIns="45720" anchor="t">
            <a:noAutofit/>
          </a:bodyPr>
          <a:lstStyle/>
          <a:p>
            <a:pPr algn="ctr"/>
            <a:br>
              <a:rPr lang="en-US" sz="1600" b="1">
                <a:latin typeface="+mn-lt"/>
              </a:rPr>
            </a:br>
            <a:r>
              <a:rPr lang="en-US" sz="1600" b="1">
                <a:latin typeface="+mn-lt"/>
              </a:rPr>
              <a:t>AT assessment is a collaborative process, not just a one-time event by a specialist</a:t>
            </a:r>
            <a:br>
              <a:rPr lang="en-US" sz="1550" b="1">
                <a:latin typeface="Elephant Pro" panose="00000500000000000000" pitchFamily="2" charset="0"/>
              </a:rPr>
            </a:br>
            <a:endParaRPr lang="en-US" sz="1575" b="1">
              <a:solidFill>
                <a:srgbClr val="51413B"/>
              </a:solidFill>
              <a:latin typeface="Elephant Pro" panose="00000500000000000000" pitchFamily="2" charset="0"/>
            </a:endParaRPr>
          </a:p>
        </p:txBody>
      </p:sp>
      <p:sp>
        <p:nvSpPr>
          <p:cNvPr id="2" name="Content Placeholder 1"/>
          <p:cNvSpPr>
            <a:spLocks noGrp="1"/>
          </p:cNvSpPr>
          <p:nvPr>
            <p:ph idx="1"/>
          </p:nvPr>
        </p:nvSpPr>
        <p:spPr>
          <a:xfrm>
            <a:off x="653415" y="2336050"/>
            <a:ext cx="4504644" cy="3317380"/>
          </a:xfrm>
        </p:spPr>
        <p:txBody>
          <a:bodyPr lIns="91440" tIns="45720" rIns="91440" bIns="45720" anchor="t">
            <a:normAutofit fontScale="92500"/>
          </a:bodyPr>
          <a:lstStyle/>
          <a:p>
            <a:pPr marL="0" indent="0">
              <a:buNone/>
            </a:pPr>
            <a:endParaRPr lang="en-US" sz="1650">
              <a:latin typeface="Arial" panose="020B0604020202020204" pitchFamily="34" charset="0"/>
              <a:cs typeface="Arial" panose="020B0604020202020204" pitchFamily="34" charset="0"/>
            </a:endParaRPr>
          </a:p>
          <a:p>
            <a:pPr marL="227965" indent="-227965"/>
            <a:r>
              <a:rPr lang="en-US" sz="1650">
                <a:latin typeface="Arial"/>
                <a:cs typeface="Arial"/>
              </a:rPr>
              <a:t>Collaborative Process between multi-disciplinary team</a:t>
            </a:r>
          </a:p>
          <a:p>
            <a:pPr marL="227965" indent="-227965"/>
            <a:r>
              <a:rPr lang="en-US" sz="1650">
                <a:latin typeface="Arial"/>
                <a:cs typeface="Arial"/>
              </a:rPr>
              <a:t>Unique perspective of each person where they support the person (home, day, work)</a:t>
            </a:r>
          </a:p>
          <a:p>
            <a:pPr marL="227965" indent="-227965"/>
            <a:r>
              <a:rPr lang="en-US" sz="1650">
                <a:latin typeface="Arial"/>
                <a:cs typeface="Arial"/>
              </a:rPr>
              <a:t>AT Provider gathers information and addresses the area where AT may increase function and independence</a:t>
            </a:r>
            <a:endParaRPr lang="en-US" sz="1650">
              <a:latin typeface="Arial" panose="020B0604020202020204" pitchFamily="34" charset="0"/>
              <a:cs typeface="Arial" panose="020B0604020202020204" pitchFamily="34" charset="0"/>
            </a:endParaRPr>
          </a:p>
          <a:p>
            <a:pPr marL="227965" indent="-227965"/>
            <a:r>
              <a:rPr lang="en-US" sz="1650">
                <a:latin typeface="Arial"/>
                <a:cs typeface="Arial"/>
              </a:rPr>
              <a:t>Set up and training occurs for the individual and the support members of the team</a:t>
            </a:r>
            <a:endParaRPr lang="en-US" sz="1650" b="1">
              <a:latin typeface="Arial" panose="020B0604020202020204" pitchFamily="34" charset="0"/>
              <a:cs typeface="Arial" panose="020B0604020202020204" pitchFamily="34" charset="0"/>
            </a:endParaRPr>
          </a:p>
          <a:p>
            <a:pPr marL="227965" indent="-227965"/>
            <a:endParaRPr lang="en-US" sz="1500">
              <a:solidFill>
                <a:srgbClr val="000000"/>
              </a:solidFill>
              <a:latin typeface="Arial" panose="020B0604020202020204" pitchFamily="34" charset="0"/>
              <a:ea typeface="Calibri" panose="020F0502020204030204" pitchFamily="34" charset="0"/>
              <a:cs typeface="Arial" panose="020B0604020202020204" pitchFamily="34" charset="0"/>
            </a:endParaRPr>
          </a:p>
          <a:p>
            <a:pPr marL="227965" indent="-227965"/>
            <a:endParaRPr lang="en-US" sz="1500">
              <a:solidFill>
                <a:srgbClr val="51413B"/>
              </a:solidFill>
              <a:ea typeface="Calibri" panose="020F0502020204030204" pitchFamily="34" charset="0"/>
            </a:endParaRPr>
          </a:p>
        </p:txBody>
      </p:sp>
      <p:pic>
        <p:nvPicPr>
          <p:cNvPr id="4" name="Picture 3">
            <a:extLst>
              <a:ext uri="{FF2B5EF4-FFF2-40B4-BE49-F238E27FC236}">
                <a16:creationId xmlns:a16="http://schemas.microsoft.com/office/drawing/2014/main" id="{054C6F03-0A01-4A82-9FD1-430A83008BFB}"/>
              </a:ext>
              <a:ext uri="{C183D7F6-B498-43B3-948B-1728B52AA6E4}">
                <adec:decorative xmlns:adec="http://schemas.microsoft.com/office/drawing/2017/decorative" val="1"/>
              </a:ext>
            </a:extLst>
          </p:cNvPr>
          <p:cNvPicPr>
            <a:picLocks noChangeAspect="1"/>
          </p:cNvPicPr>
          <p:nvPr/>
        </p:nvPicPr>
        <p:blipFill rotWithShape="1">
          <a:blip r:embed="rId2"/>
          <a:srcRect l="5346" r="5786" b="1"/>
          <a:stretch/>
        </p:blipFill>
        <p:spPr>
          <a:xfrm>
            <a:off x="5642870" y="1504322"/>
            <a:ext cx="2841061" cy="3863357"/>
          </a:xfrm>
          <a:prstGeom prst="rect">
            <a:avLst/>
          </a:prstGeom>
        </p:spPr>
      </p:pic>
    </p:spTree>
    <p:extLst>
      <p:ext uri="{BB962C8B-B14F-4D97-AF65-F5344CB8AC3E}">
        <p14:creationId xmlns:p14="http://schemas.microsoft.com/office/powerpoint/2010/main" val="22175986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Diagram titled 'Assistive Technology' at the center, with lines pointing outward to twelve labeled icons representing different supports: Mind Mapping/Brainstorming, Study Skills Aids, Research Tools, Writing, Organization/Task Management, Dictation/Speech-to-Text/Speech Recognition, Vision, Time Management/Distraction Free, Hearing, Reading, Communication, Built-In Accessibility, and Notetaking.">
            <a:extLst>
              <a:ext uri="{FF2B5EF4-FFF2-40B4-BE49-F238E27FC236}">
                <a16:creationId xmlns:a16="http://schemas.microsoft.com/office/drawing/2014/main" id="{9510F4C8-BDBD-9869-966C-C6CF0137BEF1}"/>
              </a:ext>
            </a:extLst>
          </p:cNvPr>
          <p:cNvPicPr>
            <a:picLocks noChangeAspect="1"/>
          </p:cNvPicPr>
          <p:nvPr/>
        </p:nvPicPr>
        <p:blipFill>
          <a:blip r:embed="rId2"/>
          <a:stretch>
            <a:fillRect/>
          </a:stretch>
        </p:blipFill>
        <p:spPr>
          <a:xfrm>
            <a:off x="86585" y="1183842"/>
            <a:ext cx="4693745" cy="4361688"/>
          </a:xfrm>
          <a:prstGeom prst="rect">
            <a:avLst/>
          </a:prstGeom>
        </p:spPr>
      </p:pic>
      <p:sp>
        <p:nvSpPr>
          <p:cNvPr id="4" name="Title 3">
            <a:extLst>
              <a:ext uri="{FF2B5EF4-FFF2-40B4-BE49-F238E27FC236}">
                <a16:creationId xmlns:a16="http://schemas.microsoft.com/office/drawing/2014/main" id="{48037E11-7043-2C91-52D6-5FFE2A12A73C}"/>
              </a:ext>
            </a:extLst>
          </p:cNvPr>
          <p:cNvSpPr txBox="1">
            <a:spLocks noGrp="1"/>
          </p:cNvSpPr>
          <p:nvPr>
            <p:ph type="title" idx="4294967295"/>
          </p:nvPr>
        </p:nvSpPr>
        <p:spPr>
          <a:xfrm>
            <a:off x="4707309" y="1183842"/>
            <a:ext cx="3692979"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000" b="0" i="0" u="none" strike="noStrike" kern="1200" cap="none" spc="0" normalizeH="0" baseline="0" noProof="0" dirty="0">
                <a:ln>
                  <a:noFill/>
                </a:ln>
                <a:solidFill>
                  <a:schemeClr val="accent6"/>
                </a:solidFill>
                <a:effectLst/>
                <a:uLnTx/>
                <a:uFillTx/>
                <a:latin typeface="Arial" charset="0"/>
                <a:ea typeface="+mn-ea"/>
                <a:cs typeface="+mn-cs"/>
              </a:rPr>
              <a:t>AT Domains</a:t>
            </a:r>
          </a:p>
        </p:txBody>
      </p:sp>
      <p:sp>
        <p:nvSpPr>
          <p:cNvPr id="6" name="TextBox 5">
            <a:extLst>
              <a:ext uri="{FF2B5EF4-FFF2-40B4-BE49-F238E27FC236}">
                <a16:creationId xmlns:a16="http://schemas.microsoft.com/office/drawing/2014/main" id="{419AEC64-87F9-155C-8E96-CA9CEBF0F972}"/>
              </a:ext>
            </a:extLst>
          </p:cNvPr>
          <p:cNvSpPr txBox="1"/>
          <p:nvPr/>
        </p:nvSpPr>
        <p:spPr>
          <a:xfrm>
            <a:off x="4498848" y="1998234"/>
            <a:ext cx="4901184" cy="4093428"/>
          </a:xfrm>
          <a:prstGeom prst="rect">
            <a:avLst/>
          </a:prstGeom>
          <a:noFill/>
        </p:spPr>
        <p:txBody>
          <a:bodyPr wrap="square" lIns="91440" tIns="45720" rIns="91440" bIns="45720" anchor="t">
            <a:spAutoFit/>
          </a:bodyPr>
          <a:lstStyle/>
          <a:p>
            <a:pPr marL="287655" lvl="1">
              <a:buFont typeface="Wingdings" panose="05000000000000000000" pitchFamily="2" charset="2"/>
              <a:buChar char="§"/>
            </a:pPr>
            <a:r>
              <a:rPr lang="en-US" sz="2000">
                <a:latin typeface="Arial"/>
                <a:cs typeface="Arial"/>
              </a:rPr>
              <a:t>Vision</a:t>
            </a:r>
          </a:p>
          <a:p>
            <a:pPr marL="287655" lvl="1">
              <a:buFont typeface="Wingdings" panose="05000000000000000000" pitchFamily="2" charset="2"/>
              <a:buChar char="§"/>
            </a:pPr>
            <a:r>
              <a:rPr lang="en-US" sz="2000">
                <a:latin typeface="Arial"/>
                <a:cs typeface="Arial"/>
              </a:rPr>
              <a:t>Hearing &amp; Listening</a:t>
            </a:r>
          </a:p>
          <a:p>
            <a:pPr marL="287655" lvl="1">
              <a:buFont typeface="Wingdings" panose="05000000000000000000" pitchFamily="2" charset="2"/>
              <a:buChar char="§"/>
            </a:pPr>
            <a:r>
              <a:rPr lang="en-US" sz="2000">
                <a:latin typeface="Arial"/>
                <a:cs typeface="Arial"/>
              </a:rPr>
              <a:t>Communication access</a:t>
            </a:r>
          </a:p>
          <a:p>
            <a:pPr marL="287655" lvl="1">
              <a:buFont typeface="Wingdings" panose="05000000000000000000" pitchFamily="2" charset="2"/>
              <a:buChar char="§"/>
            </a:pPr>
            <a:r>
              <a:rPr lang="en-US" sz="2000">
                <a:latin typeface="Arial"/>
                <a:cs typeface="Arial"/>
              </a:rPr>
              <a:t>Technology access</a:t>
            </a:r>
          </a:p>
          <a:p>
            <a:pPr marL="287655" lvl="1">
              <a:buFont typeface="Wingdings" panose="05000000000000000000" pitchFamily="2" charset="2"/>
              <a:buChar char="§"/>
            </a:pPr>
            <a:r>
              <a:rPr lang="en-US" sz="2000">
                <a:latin typeface="Arial"/>
                <a:cs typeface="Arial"/>
              </a:rPr>
              <a:t>Environmental Access</a:t>
            </a:r>
          </a:p>
          <a:p>
            <a:pPr marL="287655" lvl="1">
              <a:buFont typeface="Wingdings" panose="05000000000000000000" pitchFamily="2" charset="2"/>
              <a:buChar char="§"/>
            </a:pPr>
            <a:r>
              <a:rPr lang="en-US" sz="2000">
                <a:latin typeface="Arial"/>
                <a:cs typeface="Arial"/>
              </a:rPr>
              <a:t>Hygiene</a:t>
            </a:r>
          </a:p>
          <a:p>
            <a:pPr marL="287655" lvl="1">
              <a:buFont typeface="Wingdings" panose="05000000000000000000" pitchFamily="2" charset="2"/>
              <a:buChar char="§"/>
            </a:pPr>
            <a:r>
              <a:rPr lang="en-US" sz="2000">
                <a:latin typeface="Arial"/>
                <a:cs typeface="Arial"/>
              </a:rPr>
              <a:t>Daily living </a:t>
            </a:r>
          </a:p>
          <a:p>
            <a:pPr marL="287655" lvl="1">
              <a:buFont typeface="Wingdings" panose="05000000000000000000" pitchFamily="2" charset="2"/>
              <a:buChar char="§"/>
            </a:pPr>
            <a:r>
              <a:rPr lang="en-US" sz="2000">
                <a:latin typeface="Arial"/>
                <a:cs typeface="Arial"/>
              </a:rPr>
              <a:t>Safety</a:t>
            </a:r>
          </a:p>
          <a:p>
            <a:pPr marL="287655" lvl="1">
              <a:buFont typeface="Wingdings" panose="05000000000000000000" pitchFamily="2" charset="2"/>
              <a:buChar char="§"/>
            </a:pPr>
            <a:r>
              <a:rPr lang="en-US" sz="2000">
                <a:latin typeface="Arial"/>
                <a:cs typeface="Arial"/>
              </a:rPr>
              <a:t>Learning and cognition</a:t>
            </a:r>
          </a:p>
          <a:p>
            <a:pPr marL="287655" lvl="1">
              <a:buFont typeface="Wingdings" panose="05000000000000000000" pitchFamily="2" charset="2"/>
              <a:buChar char="§"/>
            </a:pPr>
            <a:r>
              <a:rPr lang="en-US" sz="2000">
                <a:latin typeface="Arial"/>
                <a:cs typeface="Arial"/>
              </a:rPr>
              <a:t>Employment</a:t>
            </a:r>
          </a:p>
          <a:p>
            <a:pPr marL="287655" lvl="1">
              <a:buFont typeface="Wingdings" panose="05000000000000000000" pitchFamily="2" charset="2"/>
              <a:buChar char="§"/>
            </a:pPr>
            <a:r>
              <a:rPr lang="en-US" sz="2000">
                <a:latin typeface="Arial"/>
                <a:cs typeface="Arial"/>
              </a:rPr>
              <a:t>Organization and executive function</a:t>
            </a:r>
          </a:p>
          <a:p>
            <a:pPr marL="287655" lvl="1">
              <a:buFont typeface="Wingdings" panose="05000000000000000000" pitchFamily="2" charset="2"/>
              <a:buChar char="§"/>
            </a:pPr>
            <a:r>
              <a:rPr lang="en-US" sz="2000">
                <a:latin typeface="Arial"/>
                <a:cs typeface="Arial"/>
              </a:rPr>
              <a:t>Community safety and memory</a:t>
            </a:r>
          </a:p>
          <a:p>
            <a:pPr marL="287655" lvl="1">
              <a:buFont typeface="Wingdings" panose="05000000000000000000" pitchFamily="2" charset="2"/>
              <a:buChar char="§"/>
            </a:pPr>
            <a:r>
              <a:rPr lang="en-US" sz="2000">
                <a:latin typeface="Arial"/>
                <a:cs typeface="Arial"/>
              </a:rPr>
              <a:t>Leisure and recreation</a:t>
            </a:r>
          </a:p>
        </p:txBody>
      </p:sp>
    </p:spTree>
    <p:extLst>
      <p:ext uri="{BB962C8B-B14F-4D97-AF65-F5344CB8AC3E}">
        <p14:creationId xmlns:p14="http://schemas.microsoft.com/office/powerpoint/2010/main" val="14500097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81225-AC91-9C91-9659-23F47C0BE2C2}"/>
              </a:ext>
            </a:extLst>
          </p:cNvPr>
          <p:cNvSpPr>
            <a:spLocks noGrp="1"/>
          </p:cNvSpPr>
          <p:nvPr>
            <p:ph type="title"/>
          </p:nvPr>
        </p:nvSpPr>
        <p:spPr>
          <a:xfrm>
            <a:off x="4572000" y="1224381"/>
            <a:ext cx="3941548" cy="1250677"/>
          </a:xfrm>
        </p:spPr>
        <p:txBody>
          <a:bodyPr anchor="b">
            <a:normAutofit/>
          </a:bodyPr>
          <a:lstStyle/>
          <a:p>
            <a:r>
              <a:rPr lang="en-US" sz="3000"/>
              <a:t>Literacy</a:t>
            </a:r>
          </a:p>
        </p:txBody>
      </p:sp>
      <p:sp>
        <p:nvSpPr>
          <p:cNvPr id="3" name="Content Placeholder 2">
            <a:extLst>
              <a:ext uri="{FF2B5EF4-FFF2-40B4-BE49-F238E27FC236}">
                <a16:creationId xmlns:a16="http://schemas.microsoft.com/office/drawing/2014/main" id="{C217369E-7AA8-3CFF-6F69-6E5094ED2060}"/>
              </a:ext>
            </a:extLst>
          </p:cNvPr>
          <p:cNvSpPr>
            <a:spLocks noGrp="1"/>
          </p:cNvSpPr>
          <p:nvPr>
            <p:ph idx="1"/>
          </p:nvPr>
        </p:nvSpPr>
        <p:spPr>
          <a:xfrm>
            <a:off x="4443984" y="2661671"/>
            <a:ext cx="4069565" cy="2398098"/>
          </a:xfrm>
        </p:spPr>
        <p:txBody>
          <a:bodyPr anchor="t">
            <a:normAutofit/>
          </a:bodyPr>
          <a:lstStyle/>
          <a:p>
            <a:r>
              <a:rPr lang="en-US"/>
              <a:t>Speech to text/text to speech apps</a:t>
            </a:r>
          </a:p>
          <a:p>
            <a:r>
              <a:rPr lang="en-US"/>
              <a:t>Laser readers</a:t>
            </a:r>
          </a:p>
          <a:p>
            <a:r>
              <a:rPr lang="en-US"/>
              <a:t>Google Accessibility </a:t>
            </a:r>
          </a:p>
          <a:p>
            <a:r>
              <a:rPr lang="en-US"/>
              <a:t>AI-based apps </a:t>
            </a:r>
          </a:p>
          <a:p>
            <a:pPr lvl="1"/>
            <a:r>
              <a:rPr lang="en-US"/>
              <a:t>Grammar</a:t>
            </a:r>
          </a:p>
          <a:p>
            <a:pPr lvl="1"/>
            <a:r>
              <a:rPr lang="en-US"/>
              <a:t>Social language</a:t>
            </a:r>
          </a:p>
        </p:txBody>
      </p:sp>
      <p:pic>
        <p:nvPicPr>
          <p:cNvPr id="5" name="Picture 4">
            <a:extLst>
              <a:ext uri="{FF2B5EF4-FFF2-40B4-BE49-F238E27FC236}">
                <a16:creationId xmlns:a16="http://schemas.microsoft.com/office/drawing/2014/main" id="{155E96FA-F1C6-4D19-449C-DFCB304DB393}"/>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384049" y="1421726"/>
            <a:ext cx="4059935" cy="3638043"/>
          </a:xfrm>
          <a:prstGeom prst="rect">
            <a:avLst/>
          </a:prstGeom>
        </p:spPr>
      </p:pic>
    </p:spTree>
    <p:extLst>
      <p:ext uri="{BB962C8B-B14F-4D97-AF65-F5344CB8AC3E}">
        <p14:creationId xmlns:p14="http://schemas.microsoft.com/office/powerpoint/2010/main" val="12278950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520820-369A-3A1E-4791-6FF88A03EADD}"/>
              </a:ext>
            </a:extLst>
          </p:cNvPr>
          <p:cNvSpPr>
            <a:spLocks noGrp="1"/>
          </p:cNvSpPr>
          <p:nvPr>
            <p:ph type="title"/>
          </p:nvPr>
        </p:nvSpPr>
        <p:spPr/>
        <p:txBody>
          <a:bodyPr/>
          <a:lstStyle/>
          <a:p>
            <a:r>
              <a:rPr lang="en-US" sz="4000" b="1" dirty="0">
                <a:latin typeface="Aharoni"/>
                <a:cs typeface="Aharoni"/>
              </a:rPr>
              <a:t>Communication</a:t>
            </a:r>
          </a:p>
        </p:txBody>
      </p:sp>
      <p:pic>
        <p:nvPicPr>
          <p:cNvPr id="9" name="Content Placeholder 8" descr="VOICEITT GIVING PEOPLE A VOICE - Adapt-IT">
            <a:extLst>
              <a:ext uri="{FF2B5EF4-FFF2-40B4-BE49-F238E27FC236}">
                <a16:creationId xmlns:a16="http://schemas.microsoft.com/office/drawing/2014/main" id="{5B8E56CA-B515-D03E-ED4D-BE0A60DF0C47}"/>
              </a:ext>
            </a:extLst>
          </p:cNvPr>
          <p:cNvPicPr>
            <a:picLocks noGrp="1" noChangeAspect="1"/>
          </p:cNvPicPr>
          <p:nvPr>
            <p:ph idx="1"/>
          </p:nvPr>
        </p:nvPicPr>
        <p:blipFill>
          <a:blip r:embed="rId2"/>
          <a:stretch>
            <a:fillRect/>
          </a:stretch>
        </p:blipFill>
        <p:spPr>
          <a:xfrm>
            <a:off x="918880" y="1704029"/>
            <a:ext cx="2746401" cy="2199095"/>
          </a:xfrm>
        </p:spPr>
      </p:pic>
      <p:pic>
        <p:nvPicPr>
          <p:cNvPr id="3" name="Picture 2" descr="See related image detail. AAC Devices Supports and People Clip Art | Etsy">
            <a:extLst>
              <a:ext uri="{FF2B5EF4-FFF2-40B4-BE49-F238E27FC236}">
                <a16:creationId xmlns:a16="http://schemas.microsoft.com/office/drawing/2014/main" id="{9F2B0F4A-C019-E659-A266-013FA01DA47A}"/>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5073887" y="672120"/>
            <a:ext cx="2413068" cy="2498185"/>
          </a:xfrm>
          <a:prstGeom prst="rect">
            <a:avLst/>
          </a:prstGeom>
        </p:spPr>
      </p:pic>
      <p:pic>
        <p:nvPicPr>
          <p:cNvPr id="6" name="Picture 5" descr="Hone Your Eye Gaze Skills With Look Lab’s Powerful New Software ...">
            <a:extLst>
              <a:ext uri="{FF2B5EF4-FFF2-40B4-BE49-F238E27FC236}">
                <a16:creationId xmlns:a16="http://schemas.microsoft.com/office/drawing/2014/main" id="{CC8EEE07-F775-7703-3910-71E6D87EC1DF}"/>
              </a:ext>
            </a:extLst>
          </p:cNvPr>
          <p:cNvPicPr>
            <a:picLocks noChangeAspect="1"/>
          </p:cNvPicPr>
          <p:nvPr/>
        </p:nvPicPr>
        <p:blipFill>
          <a:blip r:embed="rId4"/>
          <a:stretch>
            <a:fillRect/>
          </a:stretch>
        </p:blipFill>
        <p:spPr>
          <a:xfrm>
            <a:off x="4320804" y="3614130"/>
            <a:ext cx="3590925" cy="2085975"/>
          </a:xfrm>
          <a:prstGeom prst="rect">
            <a:avLst/>
          </a:prstGeom>
        </p:spPr>
      </p:pic>
      <p:sp>
        <p:nvSpPr>
          <p:cNvPr id="4" name="Footer Placeholder 3">
            <a:extLst>
              <a:ext uri="{FF2B5EF4-FFF2-40B4-BE49-F238E27FC236}">
                <a16:creationId xmlns:a16="http://schemas.microsoft.com/office/drawing/2014/main" id="{2453BE05-0817-DF0B-B45E-5C984265871B}"/>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9C40F62-94F7-CF2D-5FF8-38A6F1A8503A}"/>
              </a:ext>
            </a:extLst>
          </p:cNvPr>
          <p:cNvSpPr>
            <a:spLocks noGrp="1"/>
          </p:cNvSpPr>
          <p:nvPr>
            <p:ph type="sldNum" sz="quarter" idx="12"/>
          </p:nvPr>
        </p:nvSpPr>
        <p:spPr/>
        <p:txBody>
          <a:bodyPr/>
          <a:lstStyle/>
          <a:p>
            <a:fld id="{606776CB-43A1-4978-8F11-C662227D8B63}" type="slidenum">
              <a:rPr lang="en-US" smtClean="0"/>
              <a:t>16</a:t>
            </a:fld>
            <a:endParaRPr lang="en-US"/>
          </a:p>
        </p:txBody>
      </p:sp>
    </p:spTree>
    <p:extLst>
      <p:ext uri="{BB962C8B-B14F-4D97-AF65-F5344CB8AC3E}">
        <p14:creationId xmlns:p14="http://schemas.microsoft.com/office/powerpoint/2010/main" val="42566950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0D7B6173-1D58-48E2-83CF-37350F315F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49"/>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sp>
        <p:nvSpPr>
          <p:cNvPr id="21" name="Rectangle 20">
            <a:extLst>
              <a:ext uri="{FF2B5EF4-FFF2-40B4-BE49-F238E27FC236}">
                <a16:creationId xmlns:a16="http://schemas.microsoft.com/office/drawing/2014/main" id="{BE149CDF-5DAC-4860-A285-9492CF2090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1714" cy="514350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pic>
        <p:nvPicPr>
          <p:cNvPr id="23" name="Picture 22">
            <a:extLst>
              <a:ext uri="{FF2B5EF4-FFF2-40B4-BE49-F238E27FC236}">
                <a16:creationId xmlns:a16="http://schemas.microsoft.com/office/drawing/2014/main" id="{B0DAC8FB-A162-44E3-A606-C855A03A5B09}"/>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857250"/>
            <a:ext cx="9141714" cy="5146785"/>
          </a:xfrm>
          <a:prstGeom prst="rect">
            <a:avLst/>
          </a:prstGeom>
        </p:spPr>
      </p:pic>
      <p:sp>
        <p:nvSpPr>
          <p:cNvPr id="25" name="Rectangle 24">
            <a:extLst>
              <a:ext uri="{FF2B5EF4-FFF2-40B4-BE49-F238E27FC236}">
                <a16:creationId xmlns:a16="http://schemas.microsoft.com/office/drawing/2014/main" id="{21BDEC81-16A7-4451-B893-C15000083B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1714" cy="5143500"/>
          </a:xfrm>
          <a:prstGeom prst="rect">
            <a:avLst/>
          </a:prstGeom>
          <a:solidFill>
            <a:schemeClr val="accent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sp>
        <p:nvSpPr>
          <p:cNvPr id="27" name="Rectangle 26">
            <a:extLst>
              <a:ext uri="{FF2B5EF4-FFF2-40B4-BE49-F238E27FC236}">
                <a16:creationId xmlns:a16="http://schemas.microsoft.com/office/drawing/2014/main" id="{26A515A1-4D80-430E-BE0A-71A290516A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3907" y="1404131"/>
            <a:ext cx="8324514" cy="4049738"/>
          </a:xfrm>
          <a:prstGeom prst="rect">
            <a:avLst/>
          </a:prstGeom>
          <a:solidFill>
            <a:schemeClr val="bg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b="1">
              <a:ln w="22225">
                <a:solidFill>
                  <a:srgbClr val="ED7D31"/>
                </a:solidFill>
                <a:prstDash val="solid"/>
              </a:ln>
              <a:solidFill>
                <a:srgbClr val="ED7D31">
                  <a:lumMod val="40000"/>
                  <a:lumOff val="60000"/>
                </a:srgbClr>
              </a:solidFill>
              <a:latin typeface="Calibri" panose="020F0502020204030204"/>
            </a:endParaRPr>
          </a:p>
        </p:txBody>
      </p:sp>
      <p:sp>
        <p:nvSpPr>
          <p:cNvPr id="2" name="Title 1">
            <a:extLst>
              <a:ext uri="{FF2B5EF4-FFF2-40B4-BE49-F238E27FC236}">
                <a16:creationId xmlns:a16="http://schemas.microsoft.com/office/drawing/2014/main" id="{561796E1-9548-A9EC-40CC-45E2AC808705}"/>
              </a:ext>
            </a:extLst>
          </p:cNvPr>
          <p:cNvSpPr>
            <a:spLocks noGrp="1"/>
          </p:cNvSpPr>
          <p:nvPr>
            <p:ph type="title"/>
          </p:nvPr>
        </p:nvSpPr>
        <p:spPr>
          <a:xfrm>
            <a:off x="768164" y="1403577"/>
            <a:ext cx="2856636" cy="1428056"/>
          </a:xfrm>
        </p:spPr>
        <p:txBody>
          <a:bodyPr vert="horz" lIns="91440" tIns="45720" rIns="91440" bIns="45720" rtlCol="0" anchor="t">
            <a:normAutofit/>
          </a:bodyPr>
          <a:lstStyle/>
          <a:p>
            <a:br>
              <a:rPr lang="en-US" sz="1950" b="1">
                <a:ea typeface="Calibri Light"/>
                <a:cs typeface="Calibri Light"/>
              </a:rPr>
            </a:br>
            <a:r>
              <a:rPr lang="en-US" sz="1950" i="1"/>
              <a:t>Vocational/Educational/</a:t>
            </a:r>
            <a:br>
              <a:rPr lang="en-US" sz="1950" i="1"/>
            </a:br>
            <a:r>
              <a:rPr lang="en-US" sz="1950" i="1"/>
              <a:t>Life Planning/Organization</a:t>
            </a:r>
            <a:br>
              <a:rPr lang="en-US" sz="1950" i="1"/>
            </a:br>
            <a:r>
              <a:rPr lang="en-US" sz="1950" b="1" i="1">
                <a:ea typeface="Calibri Light"/>
                <a:cs typeface="Calibri Light"/>
              </a:rPr>
              <a:t>COGNATOPIA</a:t>
            </a:r>
          </a:p>
        </p:txBody>
      </p:sp>
      <p:sp>
        <p:nvSpPr>
          <p:cNvPr id="3" name="Content Placeholder 2">
            <a:extLst>
              <a:ext uri="{FF2B5EF4-FFF2-40B4-BE49-F238E27FC236}">
                <a16:creationId xmlns:a16="http://schemas.microsoft.com/office/drawing/2014/main" id="{F89DE11F-9610-BB0C-1E3F-6CB00A829540}"/>
              </a:ext>
            </a:extLst>
          </p:cNvPr>
          <p:cNvSpPr>
            <a:spLocks noGrp="1"/>
          </p:cNvSpPr>
          <p:nvPr>
            <p:ph idx="1"/>
          </p:nvPr>
        </p:nvSpPr>
        <p:spPr>
          <a:xfrm>
            <a:off x="893975" y="2577180"/>
            <a:ext cx="2722166" cy="2744812"/>
          </a:xfrm>
        </p:spPr>
        <p:txBody>
          <a:bodyPr vert="horz" lIns="91440" tIns="45720" rIns="91440" bIns="45720" rtlCol="0" anchor="t">
            <a:normAutofit lnSpcReduction="10000"/>
          </a:bodyPr>
          <a:lstStyle/>
          <a:p>
            <a:r>
              <a:rPr lang="en-US" sz="1800"/>
              <a:t>Scheduling apps</a:t>
            </a:r>
          </a:p>
          <a:p>
            <a:r>
              <a:rPr lang="en-US" sz="1800"/>
              <a:t>Goal setting apps</a:t>
            </a:r>
          </a:p>
          <a:p>
            <a:r>
              <a:rPr lang="en-US" sz="1800"/>
              <a:t>Executive Functioning</a:t>
            </a:r>
          </a:p>
          <a:p>
            <a:r>
              <a:rPr lang="en-US" sz="1800"/>
              <a:t>Predictive AI/voice recognition</a:t>
            </a:r>
          </a:p>
          <a:p>
            <a:r>
              <a:rPr lang="en-US" sz="1800">
                <a:ea typeface="Calibri" panose="020F0502020204030204"/>
                <a:cs typeface="Calibri" panose="020F0502020204030204"/>
              </a:rPr>
              <a:t>Establish routines and use of QR codes to support caregivers and individuals alike for consistent learning.</a:t>
            </a:r>
          </a:p>
          <a:p>
            <a:pPr marL="0" indent="0">
              <a:buNone/>
            </a:pPr>
            <a:endParaRPr lang="en-US" sz="1350">
              <a:ea typeface="Calibri" panose="020F0502020204030204"/>
              <a:cs typeface="Calibri" panose="020F0502020204030204"/>
            </a:endParaRPr>
          </a:p>
        </p:txBody>
      </p:sp>
      <p:pic>
        <p:nvPicPr>
          <p:cNvPr id="5" name="Picture 4" descr="Visual chart with a photo of a person in the center, connected by lines to six labeled icons surrounding them: Interests, Preferences, Accommodations, Goals, Progress, Needs, and Strengths.">
            <a:extLst>
              <a:ext uri="{FF2B5EF4-FFF2-40B4-BE49-F238E27FC236}">
                <a16:creationId xmlns:a16="http://schemas.microsoft.com/office/drawing/2014/main" id="{9173AB28-9FA4-0F3A-1489-3473D3727B6A}"/>
              </a:ext>
            </a:extLst>
          </p:cNvPr>
          <p:cNvPicPr>
            <a:picLocks noChangeAspect="1"/>
          </p:cNvPicPr>
          <p:nvPr/>
        </p:nvPicPr>
        <p:blipFill rotWithShape="1">
          <a:blip r:embed="rId3"/>
          <a:srcRect r="1" b="3416"/>
          <a:stretch/>
        </p:blipFill>
        <p:spPr>
          <a:xfrm>
            <a:off x="4019363" y="1528958"/>
            <a:ext cx="4580375" cy="3793515"/>
          </a:xfrm>
          <a:prstGeom prst="rect">
            <a:avLst/>
          </a:prstGeom>
        </p:spPr>
      </p:pic>
    </p:spTree>
    <p:extLst>
      <p:ext uri="{BB962C8B-B14F-4D97-AF65-F5344CB8AC3E}">
        <p14:creationId xmlns:p14="http://schemas.microsoft.com/office/powerpoint/2010/main" val="22680471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D2B783EE-0239-4717-BBEA-8C9EAC61C8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sp>
        <p:nvSpPr>
          <p:cNvPr id="2" name="Title 1">
            <a:extLst>
              <a:ext uri="{FF2B5EF4-FFF2-40B4-BE49-F238E27FC236}">
                <a16:creationId xmlns:a16="http://schemas.microsoft.com/office/drawing/2014/main" id="{7CB7E38F-B41E-D825-1003-72DBCA5A5FE1}"/>
              </a:ext>
            </a:extLst>
          </p:cNvPr>
          <p:cNvSpPr>
            <a:spLocks noGrp="1"/>
          </p:cNvSpPr>
          <p:nvPr>
            <p:ph type="title"/>
          </p:nvPr>
        </p:nvSpPr>
        <p:spPr>
          <a:xfrm>
            <a:off x="628651" y="1116608"/>
            <a:ext cx="3840421" cy="994172"/>
          </a:xfrm>
        </p:spPr>
        <p:txBody>
          <a:bodyPr>
            <a:normAutofit/>
          </a:bodyPr>
          <a:lstStyle/>
          <a:p>
            <a:r>
              <a:rPr lang="en-US" sz="2550"/>
              <a:t>Health/Medical/Biometrics</a:t>
            </a:r>
          </a:p>
        </p:txBody>
      </p:sp>
      <p:sp>
        <p:nvSpPr>
          <p:cNvPr id="3" name="Content Placeholder 2">
            <a:extLst>
              <a:ext uri="{FF2B5EF4-FFF2-40B4-BE49-F238E27FC236}">
                <a16:creationId xmlns:a16="http://schemas.microsoft.com/office/drawing/2014/main" id="{63284C08-AC32-5FC0-DB96-2606B8322CEA}"/>
              </a:ext>
            </a:extLst>
          </p:cNvPr>
          <p:cNvSpPr>
            <a:spLocks noGrp="1"/>
          </p:cNvSpPr>
          <p:nvPr>
            <p:ph idx="1"/>
          </p:nvPr>
        </p:nvSpPr>
        <p:spPr>
          <a:xfrm>
            <a:off x="628651" y="2226469"/>
            <a:ext cx="3819146" cy="3263504"/>
          </a:xfrm>
        </p:spPr>
        <p:txBody>
          <a:bodyPr>
            <a:normAutofit/>
          </a:bodyPr>
          <a:lstStyle/>
          <a:p>
            <a:r>
              <a:rPr lang="en-US"/>
              <a:t>Wearable/Environmental</a:t>
            </a:r>
          </a:p>
          <a:p>
            <a:r>
              <a:rPr lang="en-US"/>
              <a:t>Blood pressure</a:t>
            </a:r>
          </a:p>
          <a:p>
            <a:r>
              <a:rPr lang="en-US"/>
              <a:t>Oxygen saturation</a:t>
            </a:r>
          </a:p>
          <a:p>
            <a:r>
              <a:rPr lang="en-US"/>
              <a:t>Breathing rate</a:t>
            </a:r>
          </a:p>
          <a:p>
            <a:r>
              <a:rPr lang="en-US"/>
              <a:t>Fall alert</a:t>
            </a:r>
          </a:p>
          <a:p>
            <a:r>
              <a:rPr lang="en-US"/>
              <a:t>Seizures</a:t>
            </a:r>
          </a:p>
          <a:p>
            <a:r>
              <a:rPr lang="en-US"/>
              <a:t>Increased exercise</a:t>
            </a:r>
          </a:p>
          <a:p>
            <a:r>
              <a:rPr lang="en-US"/>
              <a:t>Mental health</a:t>
            </a:r>
          </a:p>
          <a:p>
            <a:endParaRPr lang="en-US"/>
          </a:p>
        </p:txBody>
      </p:sp>
      <p:sp>
        <p:nvSpPr>
          <p:cNvPr id="20" name="Oval 19">
            <a:extLst>
              <a:ext uri="{FF2B5EF4-FFF2-40B4-BE49-F238E27FC236}">
                <a16:creationId xmlns:a16="http://schemas.microsoft.com/office/drawing/2014/main" id="{A7B99495-F43F-4D80-A44F-2CB4764EB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815427" y="1880799"/>
            <a:ext cx="710616" cy="6913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Calibri" panose="020F0502020204030204"/>
            </a:endParaRPr>
          </a:p>
        </p:txBody>
      </p:sp>
      <p:sp>
        <p:nvSpPr>
          <p:cNvPr id="22" name="Arc 21">
            <a:extLst>
              <a:ext uri="{FF2B5EF4-FFF2-40B4-BE49-F238E27FC236}">
                <a16:creationId xmlns:a16="http://schemas.microsoft.com/office/drawing/2014/main" id="{70BEB1E7-2F88-40BC-B73D-42E5B6F80B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4759070" flipV="1">
            <a:off x="4525604" y="352395"/>
            <a:ext cx="3015895" cy="3015895"/>
          </a:xfrm>
          <a:prstGeom prst="arc">
            <a:avLst>
              <a:gd name="adj1" fmla="val 16200000"/>
              <a:gd name="adj2" fmla="val 20093138"/>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defRPr/>
            </a:pPr>
            <a:endParaRPr lang="en-US" sz="1350">
              <a:solidFill>
                <a:prstClr val="black"/>
              </a:solidFill>
              <a:latin typeface="Calibri" panose="020F0502020204030204"/>
            </a:endParaRPr>
          </a:p>
        </p:txBody>
      </p:sp>
      <p:pic>
        <p:nvPicPr>
          <p:cNvPr id="7" name="Picture 6">
            <a:extLst>
              <a:ext uri="{FF2B5EF4-FFF2-40B4-BE49-F238E27FC236}">
                <a16:creationId xmlns:a16="http://schemas.microsoft.com/office/drawing/2014/main" id="{68E62470-DFBB-C933-9D4A-96357B72CA83}"/>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4374573" y="1460122"/>
            <a:ext cx="4478482" cy="4239292"/>
          </a:xfrm>
          <a:prstGeom prst="rect">
            <a:avLst/>
          </a:prstGeom>
        </p:spPr>
      </p:pic>
      <p:pic>
        <p:nvPicPr>
          <p:cNvPr id="4" name="Picture 3" descr="Oura Ring Gen3 Horizon Size 6 Black JZ90-51382-06 - Best Buy">
            <a:extLst>
              <a:ext uri="{FF2B5EF4-FFF2-40B4-BE49-F238E27FC236}">
                <a16:creationId xmlns:a16="http://schemas.microsoft.com/office/drawing/2014/main" id="{6A9580CE-0557-484C-019A-B5EBB6593425}"/>
              </a:ext>
            </a:extLst>
          </p:cNvPr>
          <p:cNvPicPr>
            <a:picLocks noChangeAspect="1"/>
          </p:cNvPicPr>
          <p:nvPr/>
        </p:nvPicPr>
        <p:blipFill>
          <a:blip r:embed="rId3"/>
          <a:stretch>
            <a:fillRect/>
          </a:stretch>
        </p:blipFill>
        <p:spPr>
          <a:xfrm>
            <a:off x="4271456" y="4425578"/>
            <a:ext cx="1415782" cy="1277771"/>
          </a:xfrm>
          <a:prstGeom prst="rect">
            <a:avLst/>
          </a:prstGeom>
        </p:spPr>
      </p:pic>
    </p:spTree>
    <p:extLst>
      <p:ext uri="{BB962C8B-B14F-4D97-AF65-F5344CB8AC3E}">
        <p14:creationId xmlns:p14="http://schemas.microsoft.com/office/powerpoint/2010/main" val="11196867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327D73B4-9F5C-4A64-A179-51B9500CB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sp>
        <p:nvSpPr>
          <p:cNvPr id="2" name="Title 1">
            <a:extLst>
              <a:ext uri="{FF2B5EF4-FFF2-40B4-BE49-F238E27FC236}">
                <a16:creationId xmlns:a16="http://schemas.microsoft.com/office/drawing/2014/main" id="{1D61FF18-CD43-81C4-3F70-9F32B3B0E8BA}"/>
              </a:ext>
            </a:extLst>
          </p:cNvPr>
          <p:cNvSpPr>
            <a:spLocks noGrp="1"/>
          </p:cNvSpPr>
          <p:nvPr>
            <p:ph type="title"/>
          </p:nvPr>
        </p:nvSpPr>
        <p:spPr>
          <a:xfrm>
            <a:off x="5149150" y="1346248"/>
            <a:ext cx="3146756" cy="742756"/>
          </a:xfrm>
        </p:spPr>
        <p:txBody>
          <a:bodyPr anchor="b">
            <a:normAutofit/>
          </a:bodyPr>
          <a:lstStyle/>
          <a:p>
            <a:r>
              <a:rPr lang="en-US" sz="4200"/>
              <a:t>Hygiene</a:t>
            </a:r>
          </a:p>
        </p:txBody>
      </p:sp>
      <p:sp>
        <p:nvSpPr>
          <p:cNvPr id="12" name="Oval 11">
            <a:extLst>
              <a:ext uri="{FF2B5EF4-FFF2-40B4-BE49-F238E27FC236}">
                <a16:creationId xmlns:a16="http://schemas.microsoft.com/office/drawing/2014/main" id="{C1F06963-6374-4B48-844F-071A9BAAAE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42224" y="1272864"/>
            <a:ext cx="4306642" cy="4306642"/>
          </a:xfrm>
          <a:prstGeom prst="ellipse">
            <a:avLst/>
          </a:prstGeom>
          <a:gradFill flip="none" rotWithShape="1">
            <a:gsLst>
              <a:gs pos="0">
                <a:schemeClr val="accent1"/>
              </a:gs>
              <a:gs pos="100000">
                <a:schemeClr val="accent2"/>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pic>
        <p:nvPicPr>
          <p:cNvPr id="5" name="Picture 4">
            <a:extLst>
              <a:ext uri="{FF2B5EF4-FFF2-40B4-BE49-F238E27FC236}">
                <a16:creationId xmlns:a16="http://schemas.microsoft.com/office/drawing/2014/main" id="{25EEEB24-60F7-D349-A1C0-386AB1436633}"/>
              </a:ext>
              <a:ext uri="{C183D7F6-B498-43B3-948B-1728B52AA6E4}">
                <adec:decorative xmlns:adec="http://schemas.microsoft.com/office/drawing/2017/decorative" val="1"/>
              </a:ext>
            </a:extLst>
          </p:cNvPr>
          <p:cNvPicPr>
            <a:picLocks noChangeAspect="1"/>
          </p:cNvPicPr>
          <p:nvPr/>
        </p:nvPicPr>
        <p:blipFill rotWithShape="1">
          <a:blip r:embed="rId2"/>
          <a:srcRect r="1" b="1"/>
          <a:stretch/>
        </p:blipFill>
        <p:spPr>
          <a:xfrm>
            <a:off x="379064" y="848569"/>
            <a:ext cx="4774232" cy="4730937"/>
          </a:xfrm>
          <a:custGeom>
            <a:avLst/>
            <a:gdLst/>
            <a:ahLst/>
            <a:cxnLst/>
            <a:rect l="l" t="t" r="r" b="b"/>
            <a:pathLst>
              <a:path w="1838528" h="1838528">
                <a:moveTo>
                  <a:pt x="919264" y="0"/>
                </a:moveTo>
                <a:cubicBezTo>
                  <a:pt x="1426959" y="0"/>
                  <a:pt x="1838528" y="411569"/>
                  <a:pt x="1838528" y="919264"/>
                </a:cubicBezTo>
                <a:cubicBezTo>
                  <a:pt x="1838528" y="1426959"/>
                  <a:pt x="1426959" y="1838528"/>
                  <a:pt x="919264" y="1838528"/>
                </a:cubicBezTo>
                <a:cubicBezTo>
                  <a:pt x="411569" y="1838528"/>
                  <a:pt x="0" y="1426959"/>
                  <a:pt x="0" y="919264"/>
                </a:cubicBezTo>
                <a:cubicBezTo>
                  <a:pt x="0" y="411569"/>
                  <a:pt x="411569" y="0"/>
                  <a:pt x="919264" y="0"/>
                </a:cubicBezTo>
                <a:close/>
              </a:path>
            </a:pathLst>
          </a:custGeom>
        </p:spPr>
      </p:pic>
      <p:sp>
        <p:nvSpPr>
          <p:cNvPr id="14" name="!!plus graphic">
            <a:extLst>
              <a:ext uri="{FF2B5EF4-FFF2-40B4-BE49-F238E27FC236}">
                <a16:creationId xmlns:a16="http://schemas.microsoft.com/office/drawing/2014/main" id="{6CB927A4-E432-4310-9CD5-E89FF50631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718" y="1385010"/>
            <a:ext cx="128636" cy="128636"/>
          </a:xfrm>
          <a:custGeom>
            <a:avLst/>
            <a:gdLst>
              <a:gd name="connsiteX0" fmla="*/ 159874 w 171515"/>
              <a:gd name="connsiteY0" fmla="*/ 74116 h 171515"/>
              <a:gd name="connsiteX1" fmla="*/ 97399 w 171515"/>
              <a:gd name="connsiteY1" fmla="*/ 74116 h 171515"/>
              <a:gd name="connsiteX2" fmla="*/ 97399 w 171515"/>
              <a:gd name="connsiteY2" fmla="*/ 11641 h 171515"/>
              <a:gd name="connsiteX3" fmla="*/ 85758 w 171515"/>
              <a:gd name="connsiteY3" fmla="*/ 0 h 171515"/>
              <a:gd name="connsiteX4" fmla="*/ 74116 w 171515"/>
              <a:gd name="connsiteY4" fmla="*/ 11641 h 171515"/>
              <a:gd name="connsiteX5" fmla="*/ 74116 w 171515"/>
              <a:gd name="connsiteY5" fmla="*/ 74116 h 171515"/>
              <a:gd name="connsiteX6" fmla="*/ 11641 w 171515"/>
              <a:gd name="connsiteY6" fmla="*/ 74116 h 171515"/>
              <a:gd name="connsiteX7" fmla="*/ 0 w 171515"/>
              <a:gd name="connsiteY7" fmla="*/ 85758 h 171515"/>
              <a:gd name="connsiteX8" fmla="*/ 11641 w 171515"/>
              <a:gd name="connsiteY8" fmla="*/ 97399 h 171515"/>
              <a:gd name="connsiteX9" fmla="*/ 74116 w 171515"/>
              <a:gd name="connsiteY9" fmla="*/ 97399 h 171515"/>
              <a:gd name="connsiteX10" fmla="*/ 74116 w 171515"/>
              <a:gd name="connsiteY10" fmla="*/ 159874 h 171515"/>
              <a:gd name="connsiteX11" fmla="*/ 85758 w 171515"/>
              <a:gd name="connsiteY11" fmla="*/ 171515 h 171515"/>
              <a:gd name="connsiteX12" fmla="*/ 97399 w 171515"/>
              <a:gd name="connsiteY12" fmla="*/ 159874 h 171515"/>
              <a:gd name="connsiteX13" fmla="*/ 97399 w 171515"/>
              <a:gd name="connsiteY13" fmla="*/ 97399 h 171515"/>
              <a:gd name="connsiteX14" fmla="*/ 159874 w 171515"/>
              <a:gd name="connsiteY14" fmla="*/ 97399 h 171515"/>
              <a:gd name="connsiteX15" fmla="*/ 171515 w 171515"/>
              <a:gd name="connsiteY15" fmla="*/ 85758 h 171515"/>
              <a:gd name="connsiteX16" fmla="*/ 159874 w 171515"/>
              <a:gd name="connsiteY16" fmla="*/ 74116 h 171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515" h="171515">
                <a:moveTo>
                  <a:pt x="159874" y="74116"/>
                </a:moveTo>
                <a:lnTo>
                  <a:pt x="97399" y="74116"/>
                </a:lnTo>
                <a:lnTo>
                  <a:pt x="97399" y="11641"/>
                </a:lnTo>
                <a:cubicBezTo>
                  <a:pt x="97399" y="5212"/>
                  <a:pt x="92187" y="0"/>
                  <a:pt x="85758" y="0"/>
                </a:cubicBezTo>
                <a:cubicBezTo>
                  <a:pt x="79328" y="0"/>
                  <a:pt x="74116" y="5212"/>
                  <a:pt x="74116" y="11641"/>
                </a:cubicBezTo>
                <a:lnTo>
                  <a:pt x="74116" y="74116"/>
                </a:lnTo>
                <a:lnTo>
                  <a:pt x="11641" y="74116"/>
                </a:lnTo>
                <a:cubicBezTo>
                  <a:pt x="5212" y="74116"/>
                  <a:pt x="0" y="79328"/>
                  <a:pt x="0" y="85758"/>
                </a:cubicBezTo>
                <a:cubicBezTo>
                  <a:pt x="0" y="92187"/>
                  <a:pt x="5212" y="97399"/>
                  <a:pt x="11641" y="97399"/>
                </a:cubicBezTo>
                <a:lnTo>
                  <a:pt x="74116" y="97399"/>
                </a:lnTo>
                <a:lnTo>
                  <a:pt x="74116" y="159874"/>
                </a:lnTo>
                <a:cubicBezTo>
                  <a:pt x="74116" y="166303"/>
                  <a:pt x="79328" y="171515"/>
                  <a:pt x="85758" y="171515"/>
                </a:cubicBezTo>
                <a:cubicBezTo>
                  <a:pt x="92187" y="171515"/>
                  <a:pt x="97399" y="166303"/>
                  <a:pt x="97399" y="159874"/>
                </a:cubicBezTo>
                <a:lnTo>
                  <a:pt x="97399" y="97399"/>
                </a:lnTo>
                <a:lnTo>
                  <a:pt x="159874" y="97399"/>
                </a:lnTo>
                <a:cubicBezTo>
                  <a:pt x="166303" y="97399"/>
                  <a:pt x="171515" y="92187"/>
                  <a:pt x="171515" y="85758"/>
                </a:cubicBezTo>
                <a:cubicBezTo>
                  <a:pt x="171515" y="79328"/>
                  <a:pt x="166303" y="74116"/>
                  <a:pt x="159874" y="74116"/>
                </a:cubicBezTo>
                <a:close/>
              </a:path>
            </a:pathLst>
          </a:custGeom>
          <a:solidFill>
            <a:schemeClr val="accent1"/>
          </a:solidFill>
          <a:ln w="776" cap="flat">
            <a:noFill/>
            <a:prstDash val="solid"/>
            <a:miter/>
          </a:ln>
        </p:spPr>
        <p:txBody>
          <a:bodyPr rtlCol="0" anchor="ctr"/>
          <a:lstStyle/>
          <a:p>
            <a:pPr defTabSz="685800" fontAlgn="auto">
              <a:spcBef>
                <a:spcPts val="0"/>
              </a:spcBef>
              <a:spcAft>
                <a:spcPts val="0"/>
              </a:spcAft>
              <a:defRPr/>
            </a:pPr>
            <a:endParaRPr lang="en-US" sz="1350">
              <a:solidFill>
                <a:prstClr val="black"/>
              </a:solidFill>
              <a:latin typeface="Calibri" panose="020F0502020204030204"/>
            </a:endParaRPr>
          </a:p>
        </p:txBody>
      </p:sp>
      <p:sp>
        <p:nvSpPr>
          <p:cNvPr id="16" name="!!circle graphic">
            <a:extLst>
              <a:ext uri="{FF2B5EF4-FFF2-40B4-BE49-F238E27FC236}">
                <a16:creationId xmlns:a16="http://schemas.microsoft.com/office/drawing/2014/main" id="{1453BF6C-B012-48B7-B4E8-6D7AC7C27D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7065" y="2029272"/>
            <a:ext cx="118159" cy="118159"/>
          </a:xfrm>
          <a:custGeom>
            <a:avLst/>
            <a:gdLst>
              <a:gd name="connsiteX0" fmla="*/ 78773 w 157545"/>
              <a:gd name="connsiteY0" fmla="*/ 23283 h 157545"/>
              <a:gd name="connsiteX1" fmla="*/ 134262 w 157545"/>
              <a:gd name="connsiteY1" fmla="*/ 78773 h 157545"/>
              <a:gd name="connsiteX2" fmla="*/ 78773 w 157545"/>
              <a:gd name="connsiteY2" fmla="*/ 134262 h 157545"/>
              <a:gd name="connsiteX3" fmla="*/ 23283 w 157545"/>
              <a:gd name="connsiteY3" fmla="*/ 78773 h 157545"/>
              <a:gd name="connsiteX4" fmla="*/ 78773 w 157545"/>
              <a:gd name="connsiteY4" fmla="*/ 23283 h 157545"/>
              <a:gd name="connsiteX5" fmla="*/ 78773 w 157545"/>
              <a:gd name="connsiteY5" fmla="*/ 0 h 157545"/>
              <a:gd name="connsiteX6" fmla="*/ 0 w 157545"/>
              <a:gd name="connsiteY6" fmla="*/ 78773 h 157545"/>
              <a:gd name="connsiteX7" fmla="*/ 78773 w 157545"/>
              <a:gd name="connsiteY7" fmla="*/ 157545 h 157545"/>
              <a:gd name="connsiteX8" fmla="*/ 157545 w 157545"/>
              <a:gd name="connsiteY8" fmla="*/ 78773 h 157545"/>
              <a:gd name="connsiteX9" fmla="*/ 78773 w 157545"/>
              <a:gd name="connsiteY9" fmla="*/ 0 h 15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545" h="157545">
                <a:moveTo>
                  <a:pt x="78773" y="23283"/>
                </a:moveTo>
                <a:cubicBezTo>
                  <a:pt x="109419" y="23283"/>
                  <a:pt x="134262" y="48126"/>
                  <a:pt x="134262" y="78773"/>
                </a:cubicBezTo>
                <a:cubicBezTo>
                  <a:pt x="134262" y="109419"/>
                  <a:pt x="109419" y="134262"/>
                  <a:pt x="78773" y="134262"/>
                </a:cubicBezTo>
                <a:cubicBezTo>
                  <a:pt x="48126" y="134262"/>
                  <a:pt x="23283" y="109419"/>
                  <a:pt x="23283" y="78773"/>
                </a:cubicBezTo>
                <a:cubicBezTo>
                  <a:pt x="23312" y="48139"/>
                  <a:pt x="48139" y="23312"/>
                  <a:pt x="78773" y="23283"/>
                </a:cubicBezTo>
                <a:moveTo>
                  <a:pt x="78773" y="0"/>
                </a:moveTo>
                <a:cubicBezTo>
                  <a:pt x="35268" y="0"/>
                  <a:pt x="0" y="35268"/>
                  <a:pt x="0" y="78773"/>
                </a:cubicBezTo>
                <a:cubicBezTo>
                  <a:pt x="0" y="122277"/>
                  <a:pt x="35268" y="157545"/>
                  <a:pt x="78773" y="157545"/>
                </a:cubicBezTo>
                <a:cubicBezTo>
                  <a:pt x="122277" y="157545"/>
                  <a:pt x="157545" y="122277"/>
                  <a:pt x="157545" y="78773"/>
                </a:cubicBezTo>
                <a:cubicBezTo>
                  <a:pt x="157545" y="35268"/>
                  <a:pt x="122277" y="0"/>
                  <a:pt x="78773" y="0"/>
                </a:cubicBezTo>
                <a:close/>
              </a:path>
            </a:pathLst>
          </a:custGeom>
          <a:solidFill>
            <a:schemeClr val="accent1"/>
          </a:solidFill>
          <a:ln w="751" cap="flat">
            <a:noFill/>
            <a:prstDash val="solid"/>
            <a:miter/>
          </a:ln>
        </p:spPr>
        <p:txBody>
          <a:bodyPr rtlCol="0" anchor="ctr"/>
          <a:lstStyle/>
          <a:p>
            <a:pPr defTabSz="685800" fontAlgn="auto">
              <a:spcBef>
                <a:spcPts val="0"/>
              </a:spcBef>
              <a:spcAft>
                <a:spcPts val="0"/>
              </a:spcAft>
              <a:defRPr/>
            </a:pPr>
            <a:endParaRPr lang="en-US" sz="1350">
              <a:solidFill>
                <a:prstClr val="black"/>
              </a:solidFill>
              <a:latin typeface="Calibri" panose="020F0502020204030204"/>
            </a:endParaRPr>
          </a:p>
        </p:txBody>
      </p:sp>
      <p:sp>
        <p:nvSpPr>
          <p:cNvPr id="3" name="Content Placeholder 2">
            <a:extLst>
              <a:ext uri="{FF2B5EF4-FFF2-40B4-BE49-F238E27FC236}">
                <a16:creationId xmlns:a16="http://schemas.microsoft.com/office/drawing/2014/main" id="{A567B7A0-E3DA-F6EC-D563-2C5C961C94B2}"/>
              </a:ext>
            </a:extLst>
          </p:cNvPr>
          <p:cNvSpPr>
            <a:spLocks noGrp="1"/>
          </p:cNvSpPr>
          <p:nvPr>
            <p:ph idx="1"/>
          </p:nvPr>
        </p:nvSpPr>
        <p:spPr>
          <a:xfrm>
            <a:off x="5149151" y="2147864"/>
            <a:ext cx="3146755" cy="2185404"/>
          </a:xfrm>
        </p:spPr>
        <p:txBody>
          <a:bodyPr anchor="t">
            <a:normAutofit/>
          </a:bodyPr>
          <a:lstStyle/>
          <a:p>
            <a:r>
              <a:rPr lang="en-US">
                <a:solidFill>
                  <a:schemeClr val="tx1">
                    <a:alpha val="80000"/>
                  </a:schemeClr>
                </a:solidFill>
              </a:rPr>
              <a:t>Soap dispensers</a:t>
            </a:r>
          </a:p>
          <a:p>
            <a:r>
              <a:rPr lang="en-US">
                <a:solidFill>
                  <a:schemeClr val="tx1">
                    <a:alpha val="80000"/>
                  </a:schemeClr>
                </a:solidFill>
              </a:rPr>
              <a:t>Shower speakers</a:t>
            </a:r>
          </a:p>
          <a:p>
            <a:r>
              <a:rPr lang="en-US">
                <a:solidFill>
                  <a:schemeClr val="tx1">
                    <a:alpha val="80000"/>
                  </a:schemeClr>
                </a:solidFill>
              </a:rPr>
              <a:t>Temperature gauges</a:t>
            </a:r>
          </a:p>
          <a:p>
            <a:r>
              <a:rPr lang="en-US">
                <a:solidFill>
                  <a:schemeClr val="tx1">
                    <a:alpha val="80000"/>
                  </a:schemeClr>
                </a:solidFill>
              </a:rPr>
              <a:t>Bidets</a:t>
            </a:r>
          </a:p>
          <a:p>
            <a:r>
              <a:rPr lang="en-US">
                <a:solidFill>
                  <a:schemeClr val="tx1">
                    <a:alpha val="80000"/>
                  </a:schemeClr>
                </a:solidFill>
              </a:rPr>
              <a:t>Body dryers</a:t>
            </a:r>
          </a:p>
        </p:txBody>
      </p:sp>
      <p:sp>
        <p:nvSpPr>
          <p:cNvPr id="18" name="!!dot graphic">
            <a:extLst>
              <a:ext uri="{FF2B5EF4-FFF2-40B4-BE49-F238E27FC236}">
                <a16:creationId xmlns:a16="http://schemas.microsoft.com/office/drawing/2014/main" id="{E3020543-B24B-4EC4-8FFC-8DD88EEA91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90612" y="5188561"/>
            <a:ext cx="84320" cy="84320"/>
          </a:xfrm>
          <a:custGeom>
            <a:avLst/>
            <a:gdLst>
              <a:gd name="connsiteX0" fmla="*/ 112426 w 112426"/>
              <a:gd name="connsiteY0" fmla="*/ 56213 h 112426"/>
              <a:gd name="connsiteX1" fmla="*/ 56213 w 112426"/>
              <a:gd name="connsiteY1" fmla="*/ 112426 h 112426"/>
              <a:gd name="connsiteX2" fmla="*/ 0 w 112426"/>
              <a:gd name="connsiteY2" fmla="*/ 56213 h 112426"/>
              <a:gd name="connsiteX3" fmla="*/ 56213 w 112426"/>
              <a:gd name="connsiteY3" fmla="*/ 0 h 112426"/>
              <a:gd name="connsiteX4" fmla="*/ 112426 w 112426"/>
              <a:gd name="connsiteY4" fmla="*/ 56213 h 112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26" h="112426">
                <a:moveTo>
                  <a:pt x="112426" y="56213"/>
                </a:moveTo>
                <a:cubicBezTo>
                  <a:pt x="112426" y="87259"/>
                  <a:pt x="87259" y="112426"/>
                  <a:pt x="56213" y="112426"/>
                </a:cubicBezTo>
                <a:cubicBezTo>
                  <a:pt x="25167" y="112426"/>
                  <a:pt x="0" y="87259"/>
                  <a:pt x="0" y="56213"/>
                </a:cubicBezTo>
                <a:cubicBezTo>
                  <a:pt x="0" y="25167"/>
                  <a:pt x="25167" y="0"/>
                  <a:pt x="56213" y="0"/>
                </a:cubicBezTo>
                <a:cubicBezTo>
                  <a:pt x="87259" y="0"/>
                  <a:pt x="112426" y="25167"/>
                  <a:pt x="112426" y="56213"/>
                </a:cubicBezTo>
                <a:close/>
              </a:path>
            </a:pathLst>
          </a:custGeom>
          <a:solidFill>
            <a:schemeClr val="accent1"/>
          </a:solidFill>
          <a:ln w="516" cap="flat">
            <a:noFill/>
            <a:prstDash val="solid"/>
            <a:miter/>
          </a:ln>
        </p:spPr>
        <p:txBody>
          <a:bodyPr rtlCol="0" anchor="ctr"/>
          <a:lstStyle/>
          <a:p>
            <a:pPr defTabSz="685800" fontAlgn="auto">
              <a:spcBef>
                <a:spcPts val="0"/>
              </a:spcBef>
              <a:spcAft>
                <a:spcPts val="0"/>
              </a:spcAft>
              <a:defRPr/>
            </a:pPr>
            <a:endParaRPr lang="en-US" sz="1350">
              <a:solidFill>
                <a:prstClr val="black"/>
              </a:solidFill>
              <a:latin typeface="Calibri" panose="020F0502020204030204"/>
            </a:endParaRPr>
          </a:p>
        </p:txBody>
      </p:sp>
      <p:cxnSp>
        <p:nvCxnSpPr>
          <p:cNvPr id="20" name="!!Straight Connector">
            <a:extLst>
              <a:ext uri="{FF2B5EF4-FFF2-40B4-BE49-F238E27FC236}">
                <a16:creationId xmlns:a16="http://schemas.microsoft.com/office/drawing/2014/main" id="{C49DA8F6-BCC1-4447-B54C-57856834B9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689622" y="3571704"/>
            <a:ext cx="0" cy="2429046"/>
          </a:xfrm>
          <a:prstGeom prst="line">
            <a:avLst/>
          </a:prstGeom>
          <a:ln w="25400" cap="sq">
            <a:gradFill flip="none" rotWithShape="1">
              <a:gsLst>
                <a:gs pos="0">
                  <a:schemeClr val="accent1"/>
                </a:gs>
                <a:gs pos="100000">
                  <a:schemeClr val="accent2"/>
                </a:gs>
              </a:gsLst>
              <a:lin ang="16200000" scaled="1"/>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25431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C70940-9E52-4A29-874F-3CA8718FD30D}"/>
              </a:ext>
            </a:extLst>
          </p:cNvPr>
          <p:cNvSpPr>
            <a:spLocks noGrp="1"/>
          </p:cNvSpPr>
          <p:nvPr>
            <p:ph type="title"/>
          </p:nvPr>
        </p:nvSpPr>
        <p:spPr>
          <a:xfrm>
            <a:off x="657519" y="741391"/>
            <a:ext cx="2591866" cy="1616203"/>
          </a:xfrm>
        </p:spPr>
        <p:txBody>
          <a:bodyPr vert="horz" lIns="91440" tIns="45720" rIns="91440" bIns="45720" rtlCol="0" anchor="b">
            <a:normAutofit/>
          </a:bodyPr>
          <a:lstStyle/>
          <a:p>
            <a:pPr defTabSz="914400"/>
            <a:r>
              <a:rPr lang="en-US" sz="2800" b="1" kern="1200">
                <a:solidFill>
                  <a:schemeClr val="tx1"/>
                </a:solidFill>
                <a:effectLst>
                  <a:outerShdw blurRad="38100" dist="38100" dir="2700000" algn="tl">
                    <a:srgbClr val="000000">
                      <a:alpha val="43137"/>
                    </a:srgbClr>
                  </a:outerShdw>
                </a:effectLst>
                <a:latin typeface="+mj-lt"/>
                <a:ea typeface="+mj-ea"/>
                <a:cs typeface="+mj-cs"/>
              </a:rPr>
              <a:t>Technology </a:t>
            </a:r>
            <a:br>
              <a:rPr lang="en-US" sz="2800" b="1" kern="1200">
                <a:solidFill>
                  <a:schemeClr val="tx1"/>
                </a:solidFill>
                <a:effectLst>
                  <a:outerShdw blurRad="38100" dist="38100" dir="2700000" algn="tl">
                    <a:srgbClr val="000000">
                      <a:alpha val="43137"/>
                    </a:srgbClr>
                  </a:outerShdw>
                </a:effectLst>
                <a:latin typeface="+mj-lt"/>
                <a:ea typeface="+mj-ea"/>
                <a:cs typeface="+mj-cs"/>
              </a:rPr>
            </a:br>
            <a:r>
              <a:rPr lang="en-US" sz="2800" b="1" kern="1200">
                <a:solidFill>
                  <a:schemeClr val="tx1"/>
                </a:solidFill>
                <a:effectLst>
                  <a:outerShdw blurRad="38100" dist="38100" dir="2700000" algn="tl">
                    <a:srgbClr val="000000">
                      <a:alpha val="43137"/>
                    </a:srgbClr>
                  </a:outerShdw>
                </a:effectLst>
                <a:latin typeface="+mj-lt"/>
                <a:ea typeface="+mj-ea"/>
                <a:cs typeface="+mj-cs"/>
              </a:rPr>
              <a:t>Forward Initiative</a:t>
            </a:r>
          </a:p>
        </p:txBody>
      </p:sp>
      <p:sp>
        <p:nvSpPr>
          <p:cNvPr id="4" name="TextBox 3">
            <a:extLst>
              <a:ext uri="{FF2B5EF4-FFF2-40B4-BE49-F238E27FC236}">
                <a16:creationId xmlns:a16="http://schemas.microsoft.com/office/drawing/2014/main" id="{CEC406E0-EBFC-461F-B5EB-A45D7490FCE5}"/>
              </a:ext>
            </a:extLst>
          </p:cNvPr>
          <p:cNvSpPr txBox="1"/>
          <p:nvPr/>
        </p:nvSpPr>
        <p:spPr>
          <a:xfrm>
            <a:off x="657519" y="2544228"/>
            <a:ext cx="3039922" cy="2869020"/>
          </a:xfrm>
          <a:prstGeom prst="rect">
            <a:avLst/>
          </a:prstGeom>
        </p:spPr>
        <p:txBody>
          <a:bodyPr vert="horz" lIns="91440" tIns="45720" rIns="91440" bIns="45720" rtlCol="0" anchor="t">
            <a:normAutofit lnSpcReduction="10000"/>
          </a:bodyPr>
          <a:lstStyle/>
          <a:p>
            <a:pPr indent="-228600" fontAlgn="auto">
              <a:lnSpc>
                <a:spcPct val="90000"/>
              </a:lnSpc>
              <a:spcBef>
                <a:spcPts val="750"/>
              </a:spcBef>
              <a:spcAft>
                <a:spcPts val="0"/>
              </a:spcAft>
              <a:buClr>
                <a:srgbClr val="3494BA"/>
              </a:buClr>
              <a:buSzPct val="125000"/>
              <a:buFont typeface="Arial" panose="020B0604020202020204" pitchFamily="34" charset="0"/>
              <a:buChar char="•"/>
            </a:pPr>
            <a:r>
              <a:rPr lang="en-US" sz="2000">
                <a:latin typeface="+mn-lt"/>
              </a:rPr>
              <a:t>Through the Technology Forward Initiative, Massachusetts DDS has developed an initiative to promote the use of </a:t>
            </a:r>
            <a:r>
              <a:rPr lang="en-US" sz="2000" b="1">
                <a:latin typeface="+mn-lt"/>
              </a:rPr>
              <a:t>Supportive Technology </a:t>
            </a:r>
            <a:r>
              <a:rPr lang="en-US" sz="2000">
                <a:latin typeface="+mn-lt"/>
              </a:rPr>
              <a:t>to increase the opportunities for individuals to achieve greater independence in their lives.</a:t>
            </a:r>
          </a:p>
          <a:p>
            <a:pPr indent="-228600" fontAlgn="auto">
              <a:lnSpc>
                <a:spcPct val="90000"/>
              </a:lnSpc>
              <a:spcBef>
                <a:spcPts val="750"/>
              </a:spcBef>
              <a:spcAft>
                <a:spcPts val="0"/>
              </a:spcAft>
              <a:buClr>
                <a:srgbClr val="3494BA"/>
              </a:buClr>
              <a:buSzPct val="125000"/>
              <a:buFont typeface="Arial" panose="020B0604020202020204" pitchFamily="34" charset="0"/>
              <a:buChar char="•"/>
            </a:pPr>
            <a:endParaRPr lang="en-US" sz="1700" b="1">
              <a:latin typeface="+mn-lt"/>
            </a:endParaRPr>
          </a:p>
        </p:txBody>
      </p:sp>
      <p:pic>
        <p:nvPicPr>
          <p:cNvPr id="5" name="Picture 4" descr="Department of Developmental Services logo.">
            <a:extLst>
              <a:ext uri="{FF2B5EF4-FFF2-40B4-BE49-F238E27FC236}">
                <a16:creationId xmlns:a16="http://schemas.microsoft.com/office/drawing/2014/main" id="{D2C130A9-BA2C-4C7B-8547-8C5BCCAB3E3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81728" y="2349657"/>
            <a:ext cx="3851035" cy="2869020"/>
          </a:xfrm>
          <a:prstGeom prst="rect">
            <a:avLst/>
          </a:prstGeom>
        </p:spPr>
      </p:pic>
      <p:sp>
        <p:nvSpPr>
          <p:cNvPr id="6" name="Slide Number Placeholder 5">
            <a:extLst>
              <a:ext uri="{FF2B5EF4-FFF2-40B4-BE49-F238E27FC236}">
                <a16:creationId xmlns:a16="http://schemas.microsoft.com/office/drawing/2014/main" id="{EA7DCCAE-CE4D-43B9-BEBB-2CAAF81C1E97}"/>
              </a:ext>
            </a:extLst>
          </p:cNvPr>
          <p:cNvSpPr>
            <a:spLocks noGrp="1"/>
          </p:cNvSpPr>
          <p:nvPr>
            <p:ph type="sldNum" sz="quarter" idx="12"/>
          </p:nvPr>
        </p:nvSpPr>
        <p:spPr>
          <a:xfrm>
            <a:off x="6457950" y="6356350"/>
            <a:ext cx="2057400" cy="365125"/>
          </a:xfrm>
        </p:spPr>
        <p:txBody>
          <a:bodyPr vert="horz" lIns="91440" tIns="45720" rIns="91440" bIns="45720" rtlCol="0" anchor="ctr">
            <a:normAutofit/>
          </a:bodyPr>
          <a:lstStyle/>
          <a:p>
            <a:pPr fontAlgn="auto">
              <a:spcBef>
                <a:spcPts val="0"/>
              </a:spcBef>
              <a:spcAft>
                <a:spcPts val="600"/>
              </a:spcAft>
              <a:defRPr/>
            </a:pPr>
            <a:fld id="{9C0CE6A8-29A4-4DCA-8DF6-58DCCC5D35C7}" type="slidenum">
              <a:rPr lang="en-US" sz="1200" b="1">
                <a:solidFill>
                  <a:schemeClr val="tx1">
                    <a:lumMod val="50000"/>
                    <a:lumOff val="50000"/>
                  </a:schemeClr>
                </a:solidFill>
                <a:latin typeface="+mn-lt"/>
              </a:rPr>
              <a:pPr fontAlgn="auto">
                <a:spcBef>
                  <a:spcPts val="0"/>
                </a:spcBef>
                <a:spcAft>
                  <a:spcPts val="600"/>
                </a:spcAft>
                <a:defRPr/>
              </a:pPr>
              <a:t>2</a:t>
            </a:fld>
            <a:endParaRPr lang="en-US" sz="1200" b="1">
              <a:solidFill>
                <a:schemeClr val="tx1">
                  <a:lumMod val="50000"/>
                  <a:lumOff val="50000"/>
                </a:schemeClr>
              </a:solidFill>
              <a:latin typeface="+mn-lt"/>
            </a:endParaRPr>
          </a:p>
        </p:txBody>
      </p:sp>
      <p:grpSp>
        <p:nvGrpSpPr>
          <p:cNvPr id="199" name="Group 198">
            <a:extLst>
              <a:ext uri="{FF2B5EF4-FFF2-40B4-BE49-F238E27FC236}">
                <a16:creationId xmlns:a16="http://schemas.microsoft.com/office/drawing/2014/main" id="{6258F736-B256-8039-9DC6-F4E49A5C5AD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9051478" y="0"/>
            <a:ext cx="92522" cy="6858000"/>
            <a:chOff x="12068638" y="0"/>
            <a:chExt cx="123362" cy="6858000"/>
          </a:xfrm>
        </p:grpSpPr>
        <p:sp>
          <p:nvSpPr>
            <p:cNvPr id="200" name="Rectangle 199">
              <a:extLst>
                <a:ext uri="{FF2B5EF4-FFF2-40B4-BE49-F238E27FC236}">
                  <a16:creationId xmlns:a16="http://schemas.microsoft.com/office/drawing/2014/main" id="{10B4520A-996E-330C-99DA-69CA4D89E90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0"/>
              <a:ext cx="123362" cy="6858000"/>
            </a:xfrm>
            <a:prstGeom prst="rect">
              <a:avLst/>
            </a:prstGeom>
            <a:gradFill>
              <a:gsLst>
                <a:gs pos="0">
                  <a:schemeClr val="accent2"/>
                </a:gs>
                <a:gs pos="100000">
                  <a:schemeClr val="accent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Rectangle 200">
              <a:extLst>
                <a:ext uri="{FF2B5EF4-FFF2-40B4-BE49-F238E27FC236}">
                  <a16:creationId xmlns:a16="http://schemas.microsoft.com/office/drawing/2014/main" id="{EC8FA945-E356-695F-18D6-CAD4EF34FE4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3527553"/>
              <a:ext cx="123362" cy="3330447"/>
            </a:xfrm>
            <a:prstGeom prst="rect">
              <a:avLst/>
            </a:prstGeom>
            <a:gradFill>
              <a:gsLst>
                <a:gs pos="19000">
                  <a:schemeClr val="accent5">
                    <a:lumMod val="60000"/>
                    <a:lumOff val="40000"/>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2389433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022BDE4A-8A20-4A69-9C5A-581C82036A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9D9F29-154A-1DEA-ECAB-68B239D35D4B}"/>
              </a:ext>
            </a:extLst>
          </p:cNvPr>
          <p:cNvSpPr>
            <a:spLocks noGrp="1"/>
          </p:cNvSpPr>
          <p:nvPr>
            <p:ph type="title"/>
          </p:nvPr>
        </p:nvSpPr>
        <p:spPr>
          <a:xfrm>
            <a:off x="751263" y="170412"/>
            <a:ext cx="7634200" cy="1328730"/>
          </a:xfrm>
        </p:spPr>
        <p:txBody>
          <a:bodyPr vert="horz" lIns="91440" tIns="45720" rIns="91440" bIns="45720" rtlCol="0" anchor="b">
            <a:normAutofit/>
          </a:bodyPr>
          <a:lstStyle/>
          <a:p>
            <a:pPr algn="ctr" defTabSz="914400"/>
            <a:r>
              <a:rPr lang="en-US" sz="4500" b="1" kern="1200">
                <a:latin typeface="+mj-lt"/>
                <a:ea typeface="+mj-ea"/>
                <a:cs typeface="+mj-cs"/>
              </a:rPr>
              <a:t>Various Toothbrushing Options</a:t>
            </a:r>
          </a:p>
        </p:txBody>
      </p:sp>
      <p:pic>
        <p:nvPicPr>
          <p:cNvPr id="4" name="Content Placeholder 3" descr="Amazon.com : hum by Colgate Smart Battery Toothbrush Kit, Sonic ...">
            <a:extLst>
              <a:ext uri="{FF2B5EF4-FFF2-40B4-BE49-F238E27FC236}">
                <a16:creationId xmlns:a16="http://schemas.microsoft.com/office/drawing/2014/main" id="{07CE1E52-CC68-3F7B-EDAB-C6C3BB19BE78}"/>
              </a:ext>
            </a:extLst>
          </p:cNvPr>
          <p:cNvPicPr>
            <a:picLocks noGrp="1" noChangeAspect="1"/>
          </p:cNvPicPr>
          <p:nvPr>
            <p:ph idx="1"/>
          </p:nvPr>
        </p:nvPicPr>
        <p:blipFill>
          <a:blip r:embed="rId2"/>
          <a:srcRect t="4019" r="-2" b="6597"/>
          <a:stretch/>
        </p:blipFill>
        <p:spPr>
          <a:xfrm>
            <a:off x="149055" y="2410448"/>
            <a:ext cx="4352493" cy="3890357"/>
          </a:xfrm>
          <a:prstGeom prst="rect">
            <a:avLst/>
          </a:prstGeom>
        </p:spPr>
      </p:pic>
      <p:pic>
        <p:nvPicPr>
          <p:cNvPr id="5" name="Picture 4" descr="Autobrush Sonic Pro U Shaped Adult Electric Toothbrush With Unique 360° Nylon Bristles, 3 Cleaning Modes, Ultrasonic LED Lights, Rechargeable,">
            <a:extLst>
              <a:ext uri="{FF2B5EF4-FFF2-40B4-BE49-F238E27FC236}">
                <a16:creationId xmlns:a16="http://schemas.microsoft.com/office/drawing/2014/main" id="{D0B43FA5-7320-D9C7-6199-6A76EF9032C1}"/>
              </a:ext>
            </a:extLst>
          </p:cNvPr>
          <p:cNvPicPr>
            <a:picLocks noChangeAspect="1"/>
          </p:cNvPicPr>
          <p:nvPr/>
        </p:nvPicPr>
        <p:blipFill>
          <a:blip r:embed="rId3"/>
          <a:srcRect b="4659"/>
          <a:stretch/>
        </p:blipFill>
        <p:spPr>
          <a:xfrm>
            <a:off x="4642450" y="2410448"/>
            <a:ext cx="4352492" cy="3890357"/>
          </a:xfrm>
          <a:prstGeom prst="rect">
            <a:avLst/>
          </a:prstGeom>
        </p:spPr>
      </p:pic>
    </p:spTree>
    <p:extLst>
      <p:ext uri="{BB962C8B-B14F-4D97-AF65-F5344CB8AC3E}">
        <p14:creationId xmlns:p14="http://schemas.microsoft.com/office/powerpoint/2010/main" val="5062417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8F388-741B-A20C-F371-24E815C3E583}"/>
              </a:ext>
            </a:extLst>
          </p:cNvPr>
          <p:cNvSpPr>
            <a:spLocks noGrp="1"/>
          </p:cNvSpPr>
          <p:nvPr>
            <p:ph type="title"/>
          </p:nvPr>
        </p:nvSpPr>
        <p:spPr>
          <a:xfrm>
            <a:off x="628650" y="365126"/>
            <a:ext cx="7886700" cy="619593"/>
          </a:xfrm>
        </p:spPr>
        <p:txBody>
          <a:bodyPr/>
          <a:lstStyle/>
          <a:p>
            <a:pPr algn="ctr"/>
            <a:r>
              <a:rPr lang="en-US" b="1">
                <a:solidFill>
                  <a:srgbClr val="00269E"/>
                </a:solidFill>
                <a:ea typeface="Calibri Light"/>
                <a:cs typeface="Calibri Light"/>
              </a:rPr>
              <a:t>Simple integration of AT to help everyone</a:t>
            </a:r>
          </a:p>
        </p:txBody>
      </p:sp>
      <p:pic>
        <p:nvPicPr>
          <p:cNvPr id="5" name="Picture 4" descr="Trash Can With Wheels Illustration In Minimal Style, Environment, Clean ...">
            <a:extLst>
              <a:ext uri="{FF2B5EF4-FFF2-40B4-BE49-F238E27FC236}">
                <a16:creationId xmlns:a16="http://schemas.microsoft.com/office/drawing/2014/main" id="{256B9901-D4EF-8E5F-1ACC-E9BD9080D10F}"/>
              </a:ext>
            </a:extLst>
          </p:cNvPr>
          <p:cNvPicPr>
            <a:picLocks noChangeAspect="1"/>
          </p:cNvPicPr>
          <p:nvPr/>
        </p:nvPicPr>
        <p:blipFill>
          <a:blip r:embed="rId2"/>
          <a:stretch>
            <a:fillRect/>
          </a:stretch>
        </p:blipFill>
        <p:spPr>
          <a:xfrm>
            <a:off x="634253" y="981635"/>
            <a:ext cx="2743200" cy="2743200"/>
          </a:xfrm>
          <a:prstGeom prst="rect">
            <a:avLst/>
          </a:prstGeom>
        </p:spPr>
      </p:pic>
      <p:pic>
        <p:nvPicPr>
          <p:cNvPr id="7" name="Picture 6" descr="Brava Oven Review: Does it Work for a Meat-Eating Family of Four?">
            <a:extLst>
              <a:ext uri="{FF2B5EF4-FFF2-40B4-BE49-F238E27FC236}">
                <a16:creationId xmlns:a16="http://schemas.microsoft.com/office/drawing/2014/main" id="{71A65895-48BE-4C49-266E-EB58E781C2A4}"/>
              </a:ext>
            </a:extLst>
          </p:cNvPr>
          <p:cNvPicPr>
            <a:picLocks noChangeAspect="1"/>
          </p:cNvPicPr>
          <p:nvPr/>
        </p:nvPicPr>
        <p:blipFill>
          <a:blip r:embed="rId3"/>
          <a:stretch>
            <a:fillRect/>
          </a:stretch>
        </p:blipFill>
        <p:spPr>
          <a:xfrm>
            <a:off x="3088002" y="2544934"/>
            <a:ext cx="2736207" cy="1514407"/>
          </a:xfrm>
          <a:prstGeom prst="rect">
            <a:avLst/>
          </a:prstGeom>
        </p:spPr>
      </p:pic>
      <p:pic>
        <p:nvPicPr>
          <p:cNvPr id="4" name="Content Placeholder 3" descr="Amazon Echo Dot Alexa 5ta Generación / Negro | Asistentes de voz ...">
            <a:extLst>
              <a:ext uri="{FF2B5EF4-FFF2-40B4-BE49-F238E27FC236}">
                <a16:creationId xmlns:a16="http://schemas.microsoft.com/office/drawing/2014/main" id="{40F1A0FA-7776-95A0-5322-AD97FD2BD02A}"/>
              </a:ext>
            </a:extLst>
          </p:cNvPr>
          <p:cNvPicPr>
            <a:picLocks noGrp="1" noChangeAspect="1"/>
          </p:cNvPicPr>
          <p:nvPr>
            <p:ph idx="1"/>
          </p:nvPr>
        </p:nvPicPr>
        <p:blipFill>
          <a:blip r:embed="rId4"/>
          <a:stretch>
            <a:fillRect/>
          </a:stretch>
        </p:blipFill>
        <p:spPr>
          <a:xfrm>
            <a:off x="5965455" y="984810"/>
            <a:ext cx="2390683" cy="2323447"/>
          </a:xfrm>
        </p:spPr>
      </p:pic>
      <p:pic>
        <p:nvPicPr>
          <p:cNvPr id="9" name="Picture 8" descr="Apple Watch Sport 38mm Smartwatch MJ2X2LL/A B&amp;H Photo Video">
            <a:extLst>
              <a:ext uri="{FF2B5EF4-FFF2-40B4-BE49-F238E27FC236}">
                <a16:creationId xmlns:a16="http://schemas.microsoft.com/office/drawing/2014/main" id="{DEB9E153-6033-62AE-3836-696F075E7750}"/>
              </a:ext>
            </a:extLst>
          </p:cNvPr>
          <p:cNvPicPr>
            <a:picLocks noChangeAspect="1"/>
          </p:cNvPicPr>
          <p:nvPr/>
        </p:nvPicPr>
        <p:blipFill>
          <a:blip r:embed="rId5"/>
          <a:stretch>
            <a:fillRect/>
          </a:stretch>
        </p:blipFill>
        <p:spPr>
          <a:xfrm>
            <a:off x="638050" y="4343926"/>
            <a:ext cx="1999272" cy="2039463"/>
          </a:xfrm>
          <a:prstGeom prst="rect">
            <a:avLst/>
          </a:prstGeom>
        </p:spPr>
      </p:pic>
      <p:pic>
        <p:nvPicPr>
          <p:cNvPr id="3" name="Picture 2" descr="Home Depot: Ring Wireless Video Doorbell 2 w/ Chime Pro Just $169 ...">
            <a:extLst>
              <a:ext uri="{FF2B5EF4-FFF2-40B4-BE49-F238E27FC236}">
                <a16:creationId xmlns:a16="http://schemas.microsoft.com/office/drawing/2014/main" id="{D39BF167-13C5-9E71-63C3-0B4A3041270C}"/>
              </a:ext>
            </a:extLst>
          </p:cNvPr>
          <p:cNvPicPr>
            <a:picLocks noChangeAspect="1"/>
          </p:cNvPicPr>
          <p:nvPr/>
        </p:nvPicPr>
        <p:blipFill>
          <a:blip r:embed="rId6"/>
          <a:srcRect l="20755" t="-247" r="15964" b="680"/>
          <a:stretch>
            <a:fillRect/>
          </a:stretch>
        </p:blipFill>
        <p:spPr>
          <a:xfrm>
            <a:off x="3384618" y="4626760"/>
            <a:ext cx="2041424" cy="1770837"/>
          </a:xfrm>
          <a:prstGeom prst="rect">
            <a:avLst/>
          </a:prstGeom>
        </p:spPr>
      </p:pic>
      <p:pic>
        <p:nvPicPr>
          <p:cNvPr id="8" name="Picture 7" descr="Magic Clothes Folding Board Laundry Home Clothing Quick Folder ...">
            <a:extLst>
              <a:ext uri="{FF2B5EF4-FFF2-40B4-BE49-F238E27FC236}">
                <a16:creationId xmlns:a16="http://schemas.microsoft.com/office/drawing/2014/main" id="{77A6089E-2F32-7DD2-CC79-9FF7FAAB9178}"/>
              </a:ext>
            </a:extLst>
          </p:cNvPr>
          <p:cNvPicPr>
            <a:picLocks noChangeAspect="1"/>
          </p:cNvPicPr>
          <p:nvPr/>
        </p:nvPicPr>
        <p:blipFill>
          <a:blip r:embed="rId7"/>
          <a:stretch>
            <a:fillRect/>
          </a:stretch>
        </p:blipFill>
        <p:spPr>
          <a:xfrm>
            <a:off x="5971309" y="3868168"/>
            <a:ext cx="2743200" cy="2743200"/>
          </a:xfrm>
          <a:prstGeom prst="rect">
            <a:avLst/>
          </a:prstGeom>
        </p:spPr>
      </p:pic>
    </p:spTree>
    <p:extLst>
      <p:ext uri="{BB962C8B-B14F-4D97-AF65-F5344CB8AC3E}">
        <p14:creationId xmlns:p14="http://schemas.microsoft.com/office/powerpoint/2010/main" val="19890582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49BEF-C1B4-FFEB-5BC1-155C6CFDE957}"/>
              </a:ext>
            </a:extLst>
          </p:cNvPr>
          <p:cNvSpPr>
            <a:spLocks noGrp="1"/>
          </p:cNvSpPr>
          <p:nvPr>
            <p:ph type="title"/>
          </p:nvPr>
        </p:nvSpPr>
        <p:spPr/>
        <p:txBody>
          <a:bodyPr vert="horz" lIns="68580" tIns="34290" rIns="68580" bIns="34290" rtlCol="0" anchor="t">
            <a:normAutofit fontScale="90000"/>
          </a:bodyPr>
          <a:lstStyle/>
          <a:p>
            <a:r>
              <a:rPr lang="en-US" sz="3000" kern="1200">
                <a:solidFill>
                  <a:srgbClr val="FFFFFF"/>
                </a:solidFill>
                <a:latin typeface="+mj-lt"/>
                <a:ea typeface="+mj-ea"/>
                <a:cs typeface="+mj-cs"/>
              </a:rPr>
              <a:t>Smart Phone Accessibility</a:t>
            </a:r>
          </a:p>
        </p:txBody>
      </p:sp>
      <p:sp>
        <p:nvSpPr>
          <p:cNvPr id="3" name="Text Placeholder 2">
            <a:extLst>
              <a:ext uri="{FF2B5EF4-FFF2-40B4-BE49-F238E27FC236}">
                <a16:creationId xmlns:a16="http://schemas.microsoft.com/office/drawing/2014/main" id="{2800BF37-D3A5-7AC7-41D6-BD0CB063982B}"/>
              </a:ext>
            </a:extLst>
          </p:cNvPr>
          <p:cNvSpPr>
            <a:spLocks noGrp="1"/>
          </p:cNvSpPr>
          <p:nvPr>
            <p:ph type="body" sz="quarter" idx="15"/>
          </p:nvPr>
        </p:nvSpPr>
        <p:spPr/>
        <p:txBody>
          <a:bodyPr lIns="0" tIns="0" rIns="0" bIns="0" anchor="t"/>
          <a:lstStyle/>
          <a:p>
            <a:r>
              <a:rPr lang="en-US">
                <a:latin typeface="Arial"/>
                <a:cs typeface="Arial"/>
              </a:rPr>
              <a:t>ADDITIONAL UNIVERSAL AT</a:t>
            </a:r>
            <a:endParaRPr lang="en-US"/>
          </a:p>
        </p:txBody>
      </p:sp>
      <p:pic>
        <p:nvPicPr>
          <p:cNvPr id="2050" name="Picture 2" descr="Two smartphone screenshots: One showing the first part of Apple’s iOS 16 Accessibility menu with categories for “Vision” and “Physical and Motor” and the second image showing some of Google’s Accessibility menu for Android 13, including the options for Live Captions and Audio Descriptions.">
            <a:extLst>
              <a:ext uri="{FF2B5EF4-FFF2-40B4-BE49-F238E27FC236}">
                <a16:creationId xmlns:a16="http://schemas.microsoft.com/office/drawing/2014/main" id="{A51DE99D-BE85-6AB0-D343-A7654BDABFEB}"/>
              </a:ext>
            </a:extLst>
          </p:cNvPr>
          <p:cNvPicPr>
            <a:picLocks noGrp="1" noChangeAspect="1" noChangeArrowheads="1"/>
          </p:cNvPicPr>
          <p:nvPr>
            <p:ph sz="quarter" idx="16"/>
          </p:nvPr>
        </p:nvPicPr>
        <p:blipFill>
          <a:blip r:embed="rId2">
            <a:extLst>
              <a:ext uri="{28A0092B-C50C-407E-A947-70E740481C1C}">
                <a14:useLocalDpi xmlns:a14="http://schemas.microsoft.com/office/drawing/2010/main" val="0"/>
              </a:ext>
            </a:extLst>
          </a:blip>
          <a:stretch>
            <a:fillRect/>
          </a:stretch>
        </p:blipFill>
        <p:spPr bwMode="auto">
          <a:xfrm>
            <a:off x="228600" y="1459024"/>
            <a:ext cx="4251325" cy="4606347"/>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3">
            <a:extLst>
              <a:ext uri="{FF2B5EF4-FFF2-40B4-BE49-F238E27FC236}">
                <a16:creationId xmlns:a16="http://schemas.microsoft.com/office/drawing/2014/main" id="{03B4DAF8-9505-9BE4-3725-A23D91B09B4E}"/>
              </a:ext>
            </a:extLst>
          </p:cNvPr>
          <p:cNvSpPr>
            <a:spLocks noGrp="1"/>
          </p:cNvSpPr>
          <p:nvPr>
            <p:ph sz="quarter" idx="18"/>
          </p:nvPr>
        </p:nvSpPr>
        <p:spPr>
          <a:solidFill>
            <a:srgbClr val="000099"/>
          </a:solidFill>
          <a:ln>
            <a:solidFill>
              <a:schemeClr val="bg1"/>
            </a:solidFill>
          </a:ln>
        </p:spPr>
        <p:txBody>
          <a:bodyPr/>
          <a:lstStyle/>
          <a:p>
            <a:endParaRPr lang="en-US"/>
          </a:p>
        </p:txBody>
      </p:sp>
      <p:sp>
        <p:nvSpPr>
          <p:cNvPr id="5" name="TextBox 4">
            <a:extLst>
              <a:ext uri="{FF2B5EF4-FFF2-40B4-BE49-F238E27FC236}">
                <a16:creationId xmlns:a16="http://schemas.microsoft.com/office/drawing/2014/main" id="{F5F2FF8F-9CE5-4FF8-8F12-E25A2FB2B29A}"/>
              </a:ext>
            </a:extLst>
          </p:cNvPr>
          <p:cNvSpPr txBox="1"/>
          <p:nvPr/>
        </p:nvSpPr>
        <p:spPr>
          <a:xfrm>
            <a:off x="5138088" y="1461221"/>
            <a:ext cx="3259498"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400" b="1">
                <a:solidFill>
                  <a:schemeClr val="bg1"/>
                </a:solidFill>
                <a:latin typeface="Arial"/>
              </a:rPr>
              <a:t>SMART</a:t>
            </a:r>
          </a:p>
          <a:p>
            <a:r>
              <a:rPr lang="en-US" sz="2400" b="1">
                <a:solidFill>
                  <a:schemeClr val="bg1"/>
                </a:solidFill>
                <a:latin typeface="Arial"/>
              </a:rPr>
              <a:t>PHONE ACCESSIBILITY </a:t>
            </a:r>
            <a:endParaRPr lang="en-US" sz="2400" b="1">
              <a:solidFill>
                <a:schemeClr val="bg1"/>
              </a:solidFill>
            </a:endParaRPr>
          </a:p>
          <a:p>
            <a:r>
              <a:rPr lang="en-US" sz="2400" b="1">
                <a:solidFill>
                  <a:schemeClr val="bg1"/>
                </a:solidFill>
                <a:latin typeface="Arial"/>
              </a:rPr>
              <a:t>AND APPLICATIONS</a:t>
            </a:r>
            <a:endParaRPr lang="en-US" sz="2400" b="1">
              <a:solidFill>
                <a:schemeClr val="bg1"/>
              </a:solidFill>
            </a:endParaRPr>
          </a:p>
        </p:txBody>
      </p:sp>
      <p:sp>
        <p:nvSpPr>
          <p:cNvPr id="6" name="TextBox 5">
            <a:extLst>
              <a:ext uri="{FF2B5EF4-FFF2-40B4-BE49-F238E27FC236}">
                <a16:creationId xmlns:a16="http://schemas.microsoft.com/office/drawing/2014/main" id="{E2776541-AC0C-671D-3837-7BB327E8277E}"/>
              </a:ext>
            </a:extLst>
          </p:cNvPr>
          <p:cNvSpPr txBox="1"/>
          <p:nvPr/>
        </p:nvSpPr>
        <p:spPr>
          <a:xfrm>
            <a:off x="5277932" y="3150393"/>
            <a:ext cx="3273136" cy="1754326"/>
          </a:xfrm>
          <a:prstGeom prst="rect">
            <a:avLst/>
          </a:prstGeom>
          <a:noFill/>
          <a:ln>
            <a:solidFill>
              <a:schemeClr val="bg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Calibri"/>
              <a:buChar char="-"/>
            </a:pPr>
            <a:r>
              <a:rPr lang="en-US">
                <a:solidFill>
                  <a:schemeClr val="bg1"/>
                </a:solidFill>
                <a:latin typeface="Arial"/>
              </a:rPr>
              <a:t>Display Text Size</a:t>
            </a:r>
          </a:p>
          <a:p>
            <a:pPr marL="285750" indent="-285750">
              <a:buFont typeface="Calibri"/>
              <a:buChar char="-"/>
            </a:pPr>
            <a:r>
              <a:rPr lang="en-US">
                <a:solidFill>
                  <a:schemeClr val="bg1"/>
                </a:solidFill>
                <a:latin typeface="Arial"/>
              </a:rPr>
              <a:t>Motion Alerts </a:t>
            </a:r>
          </a:p>
          <a:p>
            <a:pPr marL="285750" indent="-285750">
              <a:buFont typeface="Calibri"/>
              <a:buChar char="-"/>
            </a:pPr>
            <a:r>
              <a:rPr lang="en-US">
                <a:solidFill>
                  <a:schemeClr val="bg1"/>
                </a:solidFill>
                <a:latin typeface="Arial"/>
              </a:rPr>
              <a:t>Audio Descriptions</a:t>
            </a:r>
          </a:p>
          <a:p>
            <a:pPr marL="285750" indent="-285750">
              <a:buFont typeface="Calibri"/>
              <a:buChar char="-"/>
            </a:pPr>
            <a:r>
              <a:rPr lang="en-US">
                <a:solidFill>
                  <a:schemeClr val="bg1"/>
                </a:solidFill>
                <a:latin typeface="Arial"/>
              </a:rPr>
              <a:t>Switch Access</a:t>
            </a:r>
          </a:p>
          <a:p>
            <a:pPr marL="285750" indent="-285750">
              <a:buFont typeface="Calibri"/>
              <a:buChar char="-"/>
            </a:pPr>
            <a:r>
              <a:rPr lang="en-US">
                <a:solidFill>
                  <a:schemeClr val="bg1"/>
                </a:solidFill>
                <a:latin typeface="Arial"/>
              </a:rPr>
              <a:t>Live Transcribe </a:t>
            </a:r>
            <a:endParaRPr lang="en-US">
              <a:solidFill>
                <a:schemeClr val="bg1"/>
              </a:solidFill>
            </a:endParaRPr>
          </a:p>
          <a:p>
            <a:pPr marL="285750" indent="-285750">
              <a:buFont typeface="Calibri"/>
              <a:buChar char="-"/>
            </a:pPr>
            <a:r>
              <a:rPr lang="en-US">
                <a:solidFill>
                  <a:schemeClr val="bg1"/>
                </a:solidFill>
                <a:latin typeface="Arial"/>
              </a:rPr>
              <a:t>Voice Over/Voice Control</a:t>
            </a:r>
          </a:p>
        </p:txBody>
      </p:sp>
    </p:spTree>
    <p:extLst>
      <p:ext uri="{BB962C8B-B14F-4D97-AF65-F5344CB8AC3E}">
        <p14:creationId xmlns:p14="http://schemas.microsoft.com/office/powerpoint/2010/main" val="173140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6B32075-B739-AB11-D05C-D9E47F2AEDB2}"/>
              </a:ext>
            </a:extLst>
          </p:cNvPr>
          <p:cNvSpPr>
            <a:spLocks noGrp="1"/>
          </p:cNvSpPr>
          <p:nvPr>
            <p:ph type="title"/>
          </p:nvPr>
        </p:nvSpPr>
        <p:spPr/>
        <p:txBody>
          <a:bodyPr/>
          <a:lstStyle/>
          <a:p>
            <a:r>
              <a:rPr lang="en-US">
                <a:latin typeface="Arial"/>
                <a:cs typeface="Arial"/>
              </a:rPr>
              <a:t>Some Low Tech/No Tech Options</a:t>
            </a:r>
            <a:endParaRPr lang="en-US"/>
          </a:p>
        </p:txBody>
      </p:sp>
      <p:sp>
        <p:nvSpPr>
          <p:cNvPr id="5" name="Text Placeholder 4">
            <a:extLst>
              <a:ext uri="{FF2B5EF4-FFF2-40B4-BE49-F238E27FC236}">
                <a16:creationId xmlns:a16="http://schemas.microsoft.com/office/drawing/2014/main" id="{AF6CFB71-1C7D-2E61-9C10-0B501E9599C6}"/>
              </a:ext>
            </a:extLst>
          </p:cNvPr>
          <p:cNvSpPr>
            <a:spLocks noGrp="1"/>
          </p:cNvSpPr>
          <p:nvPr>
            <p:ph type="body" sz="quarter" idx="15"/>
          </p:nvPr>
        </p:nvSpPr>
        <p:spPr>
          <a:xfrm>
            <a:off x="228701" y="476913"/>
            <a:ext cx="7772400" cy="182880"/>
          </a:xfrm>
        </p:spPr>
        <p:txBody>
          <a:bodyPr lIns="0" tIns="0" rIns="0" bIns="0" anchor="t"/>
          <a:lstStyle/>
          <a:p>
            <a:r>
              <a:rPr lang="en-US">
                <a:latin typeface="Arial"/>
                <a:cs typeface="Arial"/>
              </a:rPr>
              <a:t>Supportive Technology</a:t>
            </a:r>
            <a:endParaRPr lang="en-US"/>
          </a:p>
        </p:txBody>
      </p:sp>
      <p:pic>
        <p:nvPicPr>
          <p:cNvPr id="6" name="Content Placeholder 5" descr="Nosey Cups, Set of 3 - Nosey Cup - Plastic Tumblers - Easy Comforts">
            <a:extLst>
              <a:ext uri="{FF2B5EF4-FFF2-40B4-BE49-F238E27FC236}">
                <a16:creationId xmlns:a16="http://schemas.microsoft.com/office/drawing/2014/main" id="{C3F4C7A1-847C-0E66-A5AA-80EC7C28AF36}"/>
              </a:ext>
            </a:extLst>
          </p:cNvPr>
          <p:cNvPicPr>
            <a:picLocks noGrp="1" noChangeAspect="1"/>
          </p:cNvPicPr>
          <p:nvPr>
            <p:ph sz="quarter" idx="14"/>
          </p:nvPr>
        </p:nvPicPr>
        <p:blipFill>
          <a:blip r:embed="rId2"/>
          <a:stretch>
            <a:fillRect/>
          </a:stretch>
        </p:blipFill>
        <p:spPr>
          <a:xfrm>
            <a:off x="434249" y="1491169"/>
            <a:ext cx="1859537" cy="1917167"/>
          </a:xfrm>
        </p:spPr>
      </p:pic>
      <p:pic>
        <p:nvPicPr>
          <p:cNvPr id="3" name="Picture 2" descr="Money talks – Perkins School for the Blind">
            <a:extLst>
              <a:ext uri="{FF2B5EF4-FFF2-40B4-BE49-F238E27FC236}">
                <a16:creationId xmlns:a16="http://schemas.microsoft.com/office/drawing/2014/main" id="{FD745BCE-F92C-C9D0-3273-E9404B87763C}"/>
              </a:ext>
            </a:extLst>
          </p:cNvPr>
          <p:cNvPicPr>
            <a:picLocks noChangeAspect="1"/>
          </p:cNvPicPr>
          <p:nvPr/>
        </p:nvPicPr>
        <p:blipFill>
          <a:blip r:embed="rId3"/>
          <a:stretch>
            <a:fillRect/>
          </a:stretch>
        </p:blipFill>
        <p:spPr>
          <a:xfrm>
            <a:off x="2642884" y="1538895"/>
            <a:ext cx="3542084" cy="1895475"/>
          </a:xfrm>
          <a:prstGeom prst="rect">
            <a:avLst/>
          </a:prstGeom>
        </p:spPr>
      </p:pic>
      <p:pic>
        <p:nvPicPr>
          <p:cNvPr id="8" name="Picture 7" descr="Eazyhold Grip Assist Adult 5-Pack : soft silicone hand straps assist grip">
            <a:extLst>
              <a:ext uri="{FF2B5EF4-FFF2-40B4-BE49-F238E27FC236}">
                <a16:creationId xmlns:a16="http://schemas.microsoft.com/office/drawing/2014/main" id="{B283E418-31FA-651E-9B1E-25169D0B7223}"/>
              </a:ext>
            </a:extLst>
          </p:cNvPr>
          <p:cNvPicPr>
            <a:picLocks noChangeAspect="1"/>
          </p:cNvPicPr>
          <p:nvPr/>
        </p:nvPicPr>
        <p:blipFill>
          <a:blip r:embed="rId4"/>
          <a:stretch>
            <a:fillRect/>
          </a:stretch>
        </p:blipFill>
        <p:spPr>
          <a:xfrm>
            <a:off x="6420941" y="1295880"/>
            <a:ext cx="2079652" cy="2719827"/>
          </a:xfrm>
          <a:prstGeom prst="rect">
            <a:avLst/>
          </a:prstGeom>
        </p:spPr>
      </p:pic>
      <p:pic>
        <p:nvPicPr>
          <p:cNvPr id="10" name="Picture 9" descr="A close-up of a chart">
            <a:extLst>
              <a:ext uri="{FF2B5EF4-FFF2-40B4-BE49-F238E27FC236}">
                <a16:creationId xmlns:a16="http://schemas.microsoft.com/office/drawing/2014/main" id="{303A6E0D-24F1-4E2C-A5A2-7CD83FAD5CBA}"/>
              </a:ext>
            </a:extLst>
          </p:cNvPr>
          <p:cNvPicPr>
            <a:picLocks noChangeAspect="1"/>
          </p:cNvPicPr>
          <p:nvPr/>
        </p:nvPicPr>
        <p:blipFill>
          <a:blip r:embed="rId5"/>
          <a:stretch>
            <a:fillRect/>
          </a:stretch>
        </p:blipFill>
        <p:spPr>
          <a:xfrm>
            <a:off x="434628" y="3827649"/>
            <a:ext cx="2857500" cy="2295525"/>
          </a:xfrm>
          <a:prstGeom prst="rect">
            <a:avLst/>
          </a:prstGeom>
        </p:spPr>
      </p:pic>
      <p:pic>
        <p:nvPicPr>
          <p:cNvPr id="2" name="Picture 1" descr="Explore Vision Aid's Portable Digital Magnifier Solutions">
            <a:extLst>
              <a:ext uri="{FF2B5EF4-FFF2-40B4-BE49-F238E27FC236}">
                <a16:creationId xmlns:a16="http://schemas.microsoft.com/office/drawing/2014/main" id="{D4EF9B7B-FE35-9EAC-0F26-5EF0B5531553}"/>
              </a:ext>
            </a:extLst>
          </p:cNvPr>
          <p:cNvPicPr>
            <a:picLocks noChangeAspect="1"/>
          </p:cNvPicPr>
          <p:nvPr/>
        </p:nvPicPr>
        <p:blipFill>
          <a:blip r:embed="rId6"/>
          <a:stretch>
            <a:fillRect/>
          </a:stretch>
        </p:blipFill>
        <p:spPr>
          <a:xfrm>
            <a:off x="3443591" y="3830916"/>
            <a:ext cx="2743200" cy="1895594"/>
          </a:xfrm>
          <a:prstGeom prst="rect">
            <a:avLst/>
          </a:prstGeom>
        </p:spPr>
      </p:pic>
      <p:pic>
        <p:nvPicPr>
          <p:cNvPr id="7" name="Picture 6" descr="Amazon.com: Norpro Grip-EZ Garlic Press, 1 EA: Garlic Crusher: Home ...">
            <a:extLst>
              <a:ext uri="{FF2B5EF4-FFF2-40B4-BE49-F238E27FC236}">
                <a16:creationId xmlns:a16="http://schemas.microsoft.com/office/drawing/2014/main" id="{C62D9711-7ECA-D976-4349-F3CCA2F59BC2}"/>
              </a:ext>
            </a:extLst>
          </p:cNvPr>
          <p:cNvPicPr>
            <a:picLocks noChangeAspect="1"/>
          </p:cNvPicPr>
          <p:nvPr/>
        </p:nvPicPr>
        <p:blipFill>
          <a:blip r:embed="rId7"/>
          <a:stretch>
            <a:fillRect/>
          </a:stretch>
        </p:blipFill>
        <p:spPr>
          <a:xfrm>
            <a:off x="6419251" y="4002356"/>
            <a:ext cx="2095500" cy="2095500"/>
          </a:xfrm>
          <a:prstGeom prst="rect">
            <a:avLst/>
          </a:prstGeom>
        </p:spPr>
      </p:pic>
    </p:spTree>
    <p:extLst>
      <p:ext uri="{BB962C8B-B14F-4D97-AF65-F5344CB8AC3E}">
        <p14:creationId xmlns:p14="http://schemas.microsoft.com/office/powerpoint/2010/main" val="42852452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9C74E5-4D27-8E29-D30B-D0E93C9D5468}"/>
              </a:ext>
            </a:extLst>
          </p:cNvPr>
          <p:cNvSpPr>
            <a:spLocks noGrp="1"/>
          </p:cNvSpPr>
          <p:nvPr>
            <p:ph type="ctrTitle"/>
          </p:nvPr>
        </p:nvSpPr>
        <p:spPr>
          <a:xfrm>
            <a:off x="1868299" y="1160345"/>
            <a:ext cx="5407401" cy="549381"/>
          </a:xfrm>
        </p:spPr>
        <p:txBody>
          <a:bodyPr lIns="91440" tIns="45720" rIns="91440" bIns="45720" anchor="b">
            <a:spAutoFit/>
          </a:bodyPr>
          <a:lstStyle/>
          <a:p>
            <a:pPr algn="ctr"/>
            <a:r>
              <a:rPr lang="en-US" b="1" dirty="0"/>
              <a:t>Impact Stories</a:t>
            </a:r>
            <a:endParaRPr lang="en-US" b="1"/>
          </a:p>
        </p:txBody>
      </p:sp>
      <p:sp>
        <p:nvSpPr>
          <p:cNvPr id="4" name="TextBox 3">
            <a:extLst>
              <a:ext uri="{FF2B5EF4-FFF2-40B4-BE49-F238E27FC236}">
                <a16:creationId xmlns:a16="http://schemas.microsoft.com/office/drawing/2014/main" id="{F127671A-F85D-803D-8B0A-E6053CF87F7B}"/>
              </a:ext>
            </a:extLst>
          </p:cNvPr>
          <p:cNvSpPr txBox="1"/>
          <p:nvPr/>
        </p:nvSpPr>
        <p:spPr>
          <a:xfrm>
            <a:off x="272886" y="1929384"/>
            <a:ext cx="8560218" cy="3785652"/>
          </a:xfrm>
          <a:prstGeom prst="rect">
            <a:avLst/>
          </a:prstGeom>
          <a:noFill/>
        </p:spPr>
        <p:txBody>
          <a:bodyPr wrap="square" lIns="91440" tIns="45720" rIns="91440" bIns="45720" rtlCol="0" anchor="t">
            <a:spAutoFit/>
          </a:bodyPr>
          <a:lstStyle/>
          <a:p>
            <a:r>
              <a:rPr lang="en-US" sz="2000" b="0" i="0">
                <a:solidFill>
                  <a:srgbClr val="000000"/>
                </a:solidFill>
                <a:effectLst/>
                <a:latin typeface="Calibri"/>
                <a:ea typeface="Calibri"/>
              </a:rPr>
              <a:t>RL was provided with </a:t>
            </a:r>
            <a:r>
              <a:rPr lang="en-US" sz="2000" b="0" i="0" err="1">
                <a:solidFill>
                  <a:srgbClr val="000000"/>
                </a:solidFill>
                <a:effectLst/>
                <a:latin typeface="Calibri"/>
                <a:ea typeface="Calibri"/>
              </a:rPr>
              <a:t>Voiceitt</a:t>
            </a:r>
            <a:r>
              <a:rPr lang="en-US" sz="2000" b="0" i="0">
                <a:solidFill>
                  <a:srgbClr val="000000"/>
                </a:solidFill>
                <a:effectLst/>
                <a:latin typeface="Calibri"/>
                <a:ea typeface="Calibri"/>
              </a:rPr>
              <a:t>, a first-of-its-kind speech recognition tool that uses AI technology to learn his unique speech patterns and translate his unintelligible speech into recognizable speech. This allows him to repair communication breakdowns with communication partners who do not understand his speech. This provides RL with a sense of independence, as he no longer needs to rely on his mom to translate for him. </a:t>
            </a:r>
          </a:p>
          <a:p>
            <a:endParaRPr lang="en-US" sz="2000">
              <a:solidFill>
                <a:srgbClr val="000000"/>
              </a:solidFill>
              <a:latin typeface="Calibri" panose="020F0502020204030204" pitchFamily="34" charset="0"/>
              <a:ea typeface="Calibri"/>
            </a:endParaRPr>
          </a:p>
          <a:p>
            <a:endParaRPr lang="en-US" sz="2000" b="0" i="0">
              <a:solidFill>
                <a:srgbClr val="000000"/>
              </a:solidFill>
              <a:effectLst/>
              <a:latin typeface="Calibri" panose="020F0502020204030204" pitchFamily="34" charset="0"/>
              <a:ea typeface="Calibri"/>
            </a:endParaRPr>
          </a:p>
          <a:p>
            <a:r>
              <a:rPr lang="en-US" sz="2000" b="0" i="0">
                <a:solidFill>
                  <a:srgbClr val="000000"/>
                </a:solidFill>
                <a:effectLst/>
                <a:latin typeface="Calibri"/>
                <a:ea typeface="Calibri"/>
              </a:rPr>
              <a:t>Additionally, </a:t>
            </a:r>
            <a:r>
              <a:rPr lang="en-US" sz="2000" b="0" i="0" err="1">
                <a:solidFill>
                  <a:srgbClr val="000000"/>
                </a:solidFill>
                <a:effectLst/>
                <a:latin typeface="Calibri"/>
                <a:ea typeface="Calibri"/>
              </a:rPr>
              <a:t>Vocieitt's</a:t>
            </a:r>
            <a:r>
              <a:rPr lang="en-US" sz="2000" b="0" i="0">
                <a:solidFill>
                  <a:srgbClr val="000000"/>
                </a:solidFill>
                <a:effectLst/>
                <a:latin typeface="Calibri"/>
                <a:ea typeface="Calibri"/>
              </a:rPr>
              <a:t> integration with ChatGPT gives him the ability to ask questions relative to his favorite celebrities and get detailed answers, something he could not do using the regular speech-to-text option on search engines as a result of his unintelligible speech.</a:t>
            </a:r>
            <a:endParaRPr lang="en-US" sz="2000">
              <a:latin typeface="Calibri"/>
              <a:ea typeface="Calibri"/>
            </a:endParaRPr>
          </a:p>
        </p:txBody>
      </p:sp>
    </p:spTree>
    <p:extLst>
      <p:ext uri="{BB962C8B-B14F-4D97-AF65-F5344CB8AC3E}">
        <p14:creationId xmlns:p14="http://schemas.microsoft.com/office/powerpoint/2010/main" val="39793840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1FCD5-7380-7D2F-2CDC-1676E9673B1C}"/>
              </a:ext>
            </a:extLst>
          </p:cNvPr>
          <p:cNvSpPr>
            <a:spLocks noGrp="1"/>
          </p:cNvSpPr>
          <p:nvPr>
            <p:ph type="ctrTitle"/>
          </p:nvPr>
        </p:nvSpPr>
        <p:spPr>
          <a:xfrm>
            <a:off x="923544" y="1215411"/>
            <a:ext cx="7177665" cy="549381"/>
          </a:xfrm>
        </p:spPr>
        <p:txBody>
          <a:bodyPr lIns="91440" tIns="45720" rIns="91440" bIns="45720" anchor="b">
            <a:spAutoFit/>
          </a:bodyPr>
          <a:lstStyle/>
          <a:p>
            <a:pPr algn="ctr"/>
            <a:r>
              <a:rPr lang="en-US" b="1" dirty="0"/>
              <a:t>Impact Stories</a:t>
            </a:r>
          </a:p>
        </p:txBody>
      </p:sp>
      <p:sp>
        <p:nvSpPr>
          <p:cNvPr id="4" name="TextBox 3">
            <a:extLst>
              <a:ext uri="{FF2B5EF4-FFF2-40B4-BE49-F238E27FC236}">
                <a16:creationId xmlns:a16="http://schemas.microsoft.com/office/drawing/2014/main" id="{BA31F7AD-74DC-1EDF-AC42-0EAEF2FC3CD8}"/>
              </a:ext>
            </a:extLst>
          </p:cNvPr>
          <p:cNvSpPr txBox="1"/>
          <p:nvPr/>
        </p:nvSpPr>
        <p:spPr>
          <a:xfrm>
            <a:off x="699964" y="1729351"/>
            <a:ext cx="4982590" cy="2862322"/>
          </a:xfrm>
          <a:prstGeom prst="rect">
            <a:avLst/>
          </a:prstGeom>
          <a:noFill/>
        </p:spPr>
        <p:txBody>
          <a:bodyPr wrap="square" lIns="91440" tIns="45720" rIns="91440" bIns="45720" rtlCol="0" anchor="t">
            <a:spAutoFit/>
          </a:bodyPr>
          <a:lstStyle/>
          <a:p>
            <a:pPr algn="l"/>
            <a:r>
              <a:rPr lang="en-US" b="0" i="0" dirty="0">
                <a:solidFill>
                  <a:srgbClr val="000000"/>
                </a:solidFill>
                <a:effectLst/>
                <a:latin typeface="Calibri"/>
                <a:ea typeface="Calibri"/>
              </a:rPr>
              <a:t>RS is full of great ideas and is an enthusiastic learner. He expressed wanting to help out his mother with cooking and participate more in games. We got a switch-adapted vegetable peeler that peels potatoes rapidly with the push of a button. .</a:t>
            </a:r>
          </a:p>
          <a:p>
            <a:pPr algn="l"/>
            <a:r>
              <a:rPr lang="en-US" b="0" i="0" dirty="0">
                <a:solidFill>
                  <a:srgbClr val="000000"/>
                </a:solidFill>
                <a:effectLst/>
                <a:latin typeface="Calibri"/>
                <a:ea typeface="Calibri"/>
              </a:rPr>
              <a:t> </a:t>
            </a:r>
          </a:p>
          <a:p>
            <a:pPr algn="l"/>
            <a:endParaRPr lang="en-US" b="0" i="0" dirty="0">
              <a:solidFill>
                <a:srgbClr val="000000"/>
              </a:solidFill>
              <a:effectLst/>
              <a:latin typeface="Calibri"/>
              <a:ea typeface="Calibri"/>
            </a:endParaRPr>
          </a:p>
          <a:p>
            <a:pPr algn="l"/>
            <a:endParaRPr lang="en-US" b="0" i="0">
              <a:solidFill>
                <a:srgbClr val="000000"/>
              </a:solidFill>
              <a:effectLst/>
              <a:latin typeface="Calibri" panose="020F0502020204030204" pitchFamily="34" charset="0"/>
            </a:endParaRPr>
          </a:p>
          <a:p>
            <a:pPr algn="l"/>
            <a:endParaRPr lang="en-US" b="0" i="0" dirty="0">
              <a:solidFill>
                <a:srgbClr val="000000"/>
              </a:solidFill>
              <a:effectLst/>
              <a:latin typeface="Calibri" panose="020F0502020204030204" pitchFamily="34" charset="0"/>
              <a:ea typeface="Calibri"/>
            </a:endParaRPr>
          </a:p>
        </p:txBody>
      </p:sp>
      <p:pic>
        <p:nvPicPr>
          <p:cNvPr id="3" name="Picture 2" descr="Switch Adapted Vegetable and Fruit Peeler - Etsy">
            <a:extLst>
              <a:ext uri="{FF2B5EF4-FFF2-40B4-BE49-F238E27FC236}">
                <a16:creationId xmlns:a16="http://schemas.microsoft.com/office/drawing/2014/main" id="{42031DB4-EFB6-4B08-8C41-356FA9BB0E20}"/>
              </a:ext>
            </a:extLst>
          </p:cNvPr>
          <p:cNvPicPr>
            <a:picLocks noChangeAspect="1"/>
          </p:cNvPicPr>
          <p:nvPr/>
        </p:nvPicPr>
        <p:blipFill>
          <a:blip r:embed="rId2"/>
          <a:stretch>
            <a:fillRect/>
          </a:stretch>
        </p:blipFill>
        <p:spPr>
          <a:xfrm>
            <a:off x="6392695" y="1717674"/>
            <a:ext cx="1714095" cy="1844811"/>
          </a:xfrm>
          <a:prstGeom prst="rect">
            <a:avLst/>
          </a:prstGeom>
        </p:spPr>
      </p:pic>
      <p:pic>
        <p:nvPicPr>
          <p:cNvPr id="5" name="Picture 4" descr="Ultrasonic Eyeglass Cleaner, EraClean - Best Eyeglass Cleaning Machine">
            <a:extLst>
              <a:ext uri="{FF2B5EF4-FFF2-40B4-BE49-F238E27FC236}">
                <a16:creationId xmlns:a16="http://schemas.microsoft.com/office/drawing/2014/main" id="{01F692C2-6F34-04BC-556F-9ADE4996F472}"/>
              </a:ext>
            </a:extLst>
          </p:cNvPr>
          <p:cNvPicPr>
            <a:picLocks noChangeAspect="1"/>
          </p:cNvPicPr>
          <p:nvPr/>
        </p:nvPicPr>
        <p:blipFill>
          <a:blip r:embed="rId3"/>
          <a:stretch>
            <a:fillRect/>
          </a:stretch>
        </p:blipFill>
        <p:spPr>
          <a:xfrm>
            <a:off x="701984" y="4300917"/>
            <a:ext cx="2743200" cy="1371600"/>
          </a:xfrm>
          <a:prstGeom prst="rect">
            <a:avLst/>
          </a:prstGeom>
        </p:spPr>
      </p:pic>
      <p:sp>
        <p:nvSpPr>
          <p:cNvPr id="6" name="TextBox 5">
            <a:extLst>
              <a:ext uri="{FF2B5EF4-FFF2-40B4-BE49-F238E27FC236}">
                <a16:creationId xmlns:a16="http://schemas.microsoft.com/office/drawing/2014/main" id="{109A1996-E950-FD18-6C03-3022A92900BA}"/>
              </a:ext>
            </a:extLst>
          </p:cNvPr>
          <p:cNvSpPr txBox="1"/>
          <p:nvPr/>
        </p:nvSpPr>
        <p:spPr>
          <a:xfrm>
            <a:off x="3766082" y="3839417"/>
            <a:ext cx="4948280"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aseline="0">
                <a:latin typeface="Calibri"/>
              </a:rPr>
              <a:t>RS and his family joked that he always has dirty glasses and asked if there is any AT that could help with that, expecting there not to be. But we found a glasses cleaner that involves immersing the glasses in solution and then pushing a button, which is much easier for RS than using a cloth. I love when we can find creative solutions, especially for an area that someone feels is outside the realm of AT. </a:t>
            </a:r>
            <a:endParaRPr lang="en-US"/>
          </a:p>
        </p:txBody>
      </p:sp>
    </p:spTree>
    <p:extLst>
      <p:ext uri="{BB962C8B-B14F-4D97-AF65-F5344CB8AC3E}">
        <p14:creationId xmlns:p14="http://schemas.microsoft.com/office/powerpoint/2010/main" val="28584624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8134B-1244-33FD-7E15-544B9F9FC028}"/>
              </a:ext>
            </a:extLst>
          </p:cNvPr>
          <p:cNvSpPr>
            <a:spLocks noGrp="1"/>
          </p:cNvSpPr>
          <p:nvPr>
            <p:ph type="ctrTitle"/>
          </p:nvPr>
        </p:nvSpPr>
        <p:spPr>
          <a:xfrm>
            <a:off x="252360" y="1169489"/>
            <a:ext cx="5407401" cy="549381"/>
          </a:xfrm>
        </p:spPr>
        <p:txBody>
          <a:bodyPr/>
          <a:lstStyle/>
          <a:p>
            <a:r>
              <a:rPr lang="en-US"/>
              <a:t>Data Analytics</a:t>
            </a:r>
          </a:p>
        </p:txBody>
      </p:sp>
      <p:sp>
        <p:nvSpPr>
          <p:cNvPr id="3" name="Subtitle 2">
            <a:extLst>
              <a:ext uri="{FF2B5EF4-FFF2-40B4-BE49-F238E27FC236}">
                <a16:creationId xmlns:a16="http://schemas.microsoft.com/office/drawing/2014/main" id="{DA0F70A1-9001-3537-A44E-FA55C64B5DB2}"/>
              </a:ext>
            </a:extLst>
          </p:cNvPr>
          <p:cNvSpPr>
            <a:spLocks noGrp="1"/>
          </p:cNvSpPr>
          <p:nvPr>
            <p:ph type="subTitle" idx="1"/>
          </p:nvPr>
        </p:nvSpPr>
        <p:spPr>
          <a:xfrm>
            <a:off x="585216" y="1938528"/>
            <a:ext cx="7635240" cy="3410712"/>
          </a:xfrm>
        </p:spPr>
        <p:txBody>
          <a:bodyPr/>
          <a:lstStyle/>
          <a:p>
            <a:endParaRPr lang="en-US"/>
          </a:p>
        </p:txBody>
      </p:sp>
      <p:pic>
        <p:nvPicPr>
          <p:cNvPr id="6" name="Picture 5" descr="Graphical user interface, application">
            <a:extLst>
              <a:ext uri="{FF2B5EF4-FFF2-40B4-BE49-F238E27FC236}">
                <a16:creationId xmlns:a16="http://schemas.microsoft.com/office/drawing/2014/main" id="{C91D2DA1-B466-75B2-DD57-C52E5157FE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742717"/>
            <a:ext cx="8718804" cy="4982174"/>
          </a:xfrm>
          <a:prstGeom prst="rect">
            <a:avLst/>
          </a:prstGeom>
        </p:spPr>
      </p:pic>
    </p:spTree>
    <p:extLst>
      <p:ext uri="{BB962C8B-B14F-4D97-AF65-F5344CB8AC3E}">
        <p14:creationId xmlns:p14="http://schemas.microsoft.com/office/powerpoint/2010/main" val="32156672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a:extLst>
              <a:ext uri="{FF2B5EF4-FFF2-40B4-BE49-F238E27FC236}">
                <a16:creationId xmlns:a16="http://schemas.microsoft.com/office/drawing/2014/main" id="{57D0CDD0-470A-DE94-EB78-D611D52B5017}"/>
              </a:ext>
            </a:extLst>
          </p:cNvPr>
          <p:cNvSpPr>
            <a:spLocks noGrp="1"/>
          </p:cNvSpPr>
          <p:nvPr>
            <p:ph type="title"/>
          </p:nvPr>
        </p:nvSpPr>
        <p:spPr>
          <a:xfrm>
            <a:off x="228701" y="657085"/>
            <a:ext cx="7772400" cy="457200"/>
          </a:xfrm>
        </p:spPr>
        <p:txBody>
          <a:bodyPr/>
          <a:lstStyle/>
          <a:p>
            <a:r>
              <a:rPr lang="en-US"/>
              <a:t>PROVIDERS</a:t>
            </a:r>
          </a:p>
        </p:txBody>
      </p:sp>
      <p:sp>
        <p:nvSpPr>
          <p:cNvPr id="12" name="Text Placeholder 3">
            <a:extLst>
              <a:ext uri="{FF2B5EF4-FFF2-40B4-BE49-F238E27FC236}">
                <a16:creationId xmlns:a16="http://schemas.microsoft.com/office/drawing/2014/main" id="{8DCFA23C-4A48-6F28-ADD3-6DE4FB300836}"/>
              </a:ext>
            </a:extLst>
          </p:cNvPr>
          <p:cNvSpPr>
            <a:spLocks noGrp="1"/>
          </p:cNvSpPr>
          <p:nvPr>
            <p:ph type="body" sz="quarter" idx="15"/>
          </p:nvPr>
        </p:nvSpPr>
        <p:spPr>
          <a:xfrm>
            <a:off x="228701" y="400073"/>
            <a:ext cx="7772400" cy="182880"/>
          </a:xfrm>
        </p:spPr>
        <p:txBody>
          <a:bodyPr/>
          <a:lstStyle/>
          <a:p>
            <a:r>
              <a:rPr lang="en-US"/>
              <a:t>SUPPORTIVE TECHNOLOGY</a:t>
            </a:r>
          </a:p>
        </p:txBody>
      </p:sp>
      <p:sp>
        <p:nvSpPr>
          <p:cNvPr id="8" name="Content Placeholder 1">
            <a:extLst>
              <a:ext uri="{FF2B5EF4-FFF2-40B4-BE49-F238E27FC236}">
                <a16:creationId xmlns:a16="http://schemas.microsoft.com/office/drawing/2014/main" id="{B646F413-B2BB-1BB7-A476-AAA0045796FC}"/>
              </a:ext>
            </a:extLst>
          </p:cNvPr>
          <p:cNvSpPr>
            <a:spLocks noGrp="1"/>
          </p:cNvSpPr>
          <p:nvPr>
            <p:ph sz="quarter" idx="14"/>
          </p:nvPr>
        </p:nvSpPr>
        <p:spPr>
          <a:xfrm>
            <a:off x="228701" y="1279858"/>
            <a:ext cx="8686800" cy="5029200"/>
          </a:xfrm>
        </p:spPr>
        <p:txBody>
          <a:bodyPr/>
          <a:lstStyle/>
          <a:p>
            <a:r>
              <a:rPr lang="en-US" sz="2400"/>
              <a:t>There are currently 14 Assistive Technology Providers across the state. Not all providers serve every region, but each region has multiple providers. Individuals are encouraged to choose the provider they would like to work with.</a:t>
            </a:r>
          </a:p>
          <a:p>
            <a:r>
              <a:rPr lang="en-US" sz="2400"/>
              <a:t>There are currently 10 Remote Supports and Monitoring Providers across the state. Subcontracts exist within each provider with Safe in Home, Night Owl and Simply Home to provide Remote Supports and Monitoring options to individuals. </a:t>
            </a:r>
          </a:p>
          <a:p>
            <a:r>
              <a:rPr lang="en-US" sz="2400"/>
              <a:t>There are several projects through EOHHS funding including a Massachusetts based call center using the Simply Home and Boundary Care platforms.</a:t>
            </a:r>
          </a:p>
        </p:txBody>
      </p:sp>
    </p:spTree>
    <p:extLst>
      <p:ext uri="{BB962C8B-B14F-4D97-AF65-F5344CB8AC3E}">
        <p14:creationId xmlns:p14="http://schemas.microsoft.com/office/powerpoint/2010/main" val="13760953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sp>
        <p:nvSpPr>
          <p:cNvPr id="2" name="Title 1">
            <a:extLst>
              <a:ext uri="{FF2B5EF4-FFF2-40B4-BE49-F238E27FC236}">
                <a16:creationId xmlns:a16="http://schemas.microsoft.com/office/drawing/2014/main" id="{1C9057FC-3E3A-133A-2EAF-919BE2469E4E}"/>
              </a:ext>
            </a:extLst>
          </p:cNvPr>
          <p:cNvSpPr>
            <a:spLocks noGrp="1"/>
          </p:cNvSpPr>
          <p:nvPr>
            <p:ph type="title"/>
          </p:nvPr>
        </p:nvSpPr>
        <p:spPr>
          <a:xfrm>
            <a:off x="483317" y="1336890"/>
            <a:ext cx="2258184" cy="1289304"/>
          </a:xfrm>
        </p:spPr>
        <p:txBody>
          <a:bodyPr anchor="b">
            <a:normAutofit fontScale="90000"/>
          </a:bodyPr>
          <a:lstStyle/>
          <a:p>
            <a:r>
              <a:rPr lang="en-US" sz="4050" dirty="0"/>
              <a:t>Remote Supports &amp; Monitoring</a:t>
            </a:r>
          </a:p>
        </p:txBody>
      </p:sp>
      <p:sp>
        <p:nvSpPr>
          <p:cNvPr id="11"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2459" y="2787567"/>
            <a:ext cx="2441321" cy="13716"/>
          </a:xfrm>
          <a:custGeom>
            <a:avLst/>
            <a:gdLst>
              <a:gd name="connsiteX0" fmla="*/ 0 w 2441321"/>
              <a:gd name="connsiteY0" fmla="*/ 0 h 13716"/>
              <a:gd name="connsiteX1" fmla="*/ 585917 w 2441321"/>
              <a:gd name="connsiteY1" fmla="*/ 0 h 13716"/>
              <a:gd name="connsiteX2" fmla="*/ 1196247 w 2441321"/>
              <a:gd name="connsiteY2" fmla="*/ 0 h 13716"/>
              <a:gd name="connsiteX3" fmla="*/ 1806578 w 2441321"/>
              <a:gd name="connsiteY3" fmla="*/ 0 h 13716"/>
              <a:gd name="connsiteX4" fmla="*/ 2441321 w 2441321"/>
              <a:gd name="connsiteY4" fmla="*/ 0 h 13716"/>
              <a:gd name="connsiteX5" fmla="*/ 2441321 w 2441321"/>
              <a:gd name="connsiteY5" fmla="*/ 13716 h 13716"/>
              <a:gd name="connsiteX6" fmla="*/ 1830991 w 2441321"/>
              <a:gd name="connsiteY6" fmla="*/ 13716 h 13716"/>
              <a:gd name="connsiteX7" fmla="*/ 1269487 w 2441321"/>
              <a:gd name="connsiteY7" fmla="*/ 13716 h 13716"/>
              <a:gd name="connsiteX8" fmla="*/ 707983 w 2441321"/>
              <a:gd name="connsiteY8" fmla="*/ 13716 h 13716"/>
              <a:gd name="connsiteX9" fmla="*/ 0 w 2441321"/>
              <a:gd name="connsiteY9" fmla="*/ 13716 h 13716"/>
              <a:gd name="connsiteX10" fmla="*/ 0 w 2441321"/>
              <a:gd name="connsiteY10"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1321" h="13716" fill="none" extrusionOk="0">
                <a:moveTo>
                  <a:pt x="0" y="0"/>
                </a:moveTo>
                <a:cubicBezTo>
                  <a:pt x="273217" y="-17533"/>
                  <a:pt x="355785" y="-4171"/>
                  <a:pt x="585917" y="0"/>
                </a:cubicBezTo>
                <a:cubicBezTo>
                  <a:pt x="816049" y="4171"/>
                  <a:pt x="991446" y="-9419"/>
                  <a:pt x="1196247" y="0"/>
                </a:cubicBezTo>
                <a:cubicBezTo>
                  <a:pt x="1401048" y="9419"/>
                  <a:pt x="1589984" y="-731"/>
                  <a:pt x="1806578" y="0"/>
                </a:cubicBezTo>
                <a:cubicBezTo>
                  <a:pt x="2023172" y="731"/>
                  <a:pt x="2247754" y="8393"/>
                  <a:pt x="2441321" y="0"/>
                </a:cubicBezTo>
                <a:cubicBezTo>
                  <a:pt x="2440939" y="4363"/>
                  <a:pt x="2441580" y="8857"/>
                  <a:pt x="2441321" y="13716"/>
                </a:cubicBezTo>
                <a:cubicBezTo>
                  <a:pt x="2169723" y="25934"/>
                  <a:pt x="2045712" y="34568"/>
                  <a:pt x="1830991" y="13716"/>
                </a:cubicBezTo>
                <a:cubicBezTo>
                  <a:pt x="1616270" y="-7136"/>
                  <a:pt x="1505876" y="-623"/>
                  <a:pt x="1269487" y="13716"/>
                </a:cubicBezTo>
                <a:cubicBezTo>
                  <a:pt x="1033098" y="28055"/>
                  <a:pt x="908661" y="36619"/>
                  <a:pt x="707983" y="13716"/>
                </a:cubicBezTo>
                <a:cubicBezTo>
                  <a:pt x="507305" y="-9187"/>
                  <a:pt x="333592" y="16187"/>
                  <a:pt x="0" y="13716"/>
                </a:cubicBezTo>
                <a:cubicBezTo>
                  <a:pt x="-459" y="8317"/>
                  <a:pt x="190" y="2744"/>
                  <a:pt x="0" y="0"/>
                </a:cubicBezTo>
                <a:close/>
              </a:path>
              <a:path w="2441321" h="13716" stroke="0" extrusionOk="0">
                <a:moveTo>
                  <a:pt x="0" y="0"/>
                </a:moveTo>
                <a:cubicBezTo>
                  <a:pt x="207071" y="-14617"/>
                  <a:pt x="444194" y="-15606"/>
                  <a:pt x="585917" y="0"/>
                </a:cubicBezTo>
                <a:cubicBezTo>
                  <a:pt x="727640" y="15606"/>
                  <a:pt x="904326" y="-79"/>
                  <a:pt x="1123008" y="0"/>
                </a:cubicBezTo>
                <a:cubicBezTo>
                  <a:pt x="1341690" y="79"/>
                  <a:pt x="1600014" y="10401"/>
                  <a:pt x="1782164" y="0"/>
                </a:cubicBezTo>
                <a:cubicBezTo>
                  <a:pt x="1964314" y="-10401"/>
                  <a:pt x="2143537" y="-21488"/>
                  <a:pt x="2441321" y="0"/>
                </a:cubicBezTo>
                <a:cubicBezTo>
                  <a:pt x="2441507" y="3335"/>
                  <a:pt x="2441322" y="9457"/>
                  <a:pt x="2441321" y="13716"/>
                </a:cubicBezTo>
                <a:cubicBezTo>
                  <a:pt x="2166745" y="24201"/>
                  <a:pt x="2078726" y="10904"/>
                  <a:pt x="1879817" y="13716"/>
                </a:cubicBezTo>
                <a:cubicBezTo>
                  <a:pt x="1680908" y="16528"/>
                  <a:pt x="1548770" y="-8699"/>
                  <a:pt x="1318313" y="13716"/>
                </a:cubicBezTo>
                <a:cubicBezTo>
                  <a:pt x="1087856" y="36131"/>
                  <a:pt x="894613" y="-645"/>
                  <a:pt x="659157" y="13716"/>
                </a:cubicBezTo>
                <a:cubicBezTo>
                  <a:pt x="423701" y="28077"/>
                  <a:pt x="246611" y="29403"/>
                  <a:pt x="0" y="13716"/>
                </a:cubicBezTo>
                <a:cubicBezTo>
                  <a:pt x="-120" y="7867"/>
                  <a:pt x="674" y="3919"/>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sp>
        <p:nvSpPr>
          <p:cNvPr id="3" name="Content Placeholder 2">
            <a:extLst>
              <a:ext uri="{FF2B5EF4-FFF2-40B4-BE49-F238E27FC236}">
                <a16:creationId xmlns:a16="http://schemas.microsoft.com/office/drawing/2014/main" id="{2B9A8F28-498B-E825-2D29-8041345639BE}"/>
              </a:ext>
            </a:extLst>
          </p:cNvPr>
          <p:cNvSpPr>
            <a:spLocks noGrp="1"/>
          </p:cNvSpPr>
          <p:nvPr>
            <p:ph idx="1"/>
          </p:nvPr>
        </p:nvSpPr>
        <p:spPr>
          <a:xfrm>
            <a:off x="503033" y="3105834"/>
            <a:ext cx="2571750" cy="2558034"/>
          </a:xfrm>
        </p:spPr>
        <p:txBody>
          <a:bodyPr anchor="t">
            <a:normAutofit/>
          </a:bodyPr>
          <a:lstStyle/>
          <a:p>
            <a:pPr marL="0" indent="0">
              <a:buNone/>
            </a:pPr>
            <a:endParaRPr lang="en-US" sz="1650" dirty="0">
              <a:ea typeface="Calibri"/>
              <a:cs typeface="Calibri"/>
            </a:endParaRPr>
          </a:p>
          <a:p>
            <a:r>
              <a:rPr lang="en-US" sz="1800" dirty="0">
                <a:ea typeface="Calibri"/>
                <a:cs typeface="Calibri"/>
              </a:rPr>
              <a:t>Safe in home</a:t>
            </a:r>
          </a:p>
          <a:p>
            <a:r>
              <a:rPr lang="en-US" sz="1800" dirty="0"/>
              <a:t>Simply home</a:t>
            </a:r>
            <a:endParaRPr lang="en-US" sz="1800" dirty="0">
              <a:ea typeface="Calibri"/>
              <a:cs typeface="Calibri"/>
            </a:endParaRPr>
          </a:p>
          <a:p>
            <a:r>
              <a:rPr lang="en-US" sz="1800" dirty="0"/>
              <a:t>Boundary Care</a:t>
            </a:r>
            <a:endParaRPr lang="en-US" sz="1800" dirty="0">
              <a:ea typeface="Calibri"/>
              <a:cs typeface="Calibri"/>
            </a:endParaRPr>
          </a:p>
          <a:p>
            <a:r>
              <a:rPr lang="en-US" sz="1800" dirty="0"/>
              <a:t>Night Owl</a:t>
            </a:r>
            <a:endParaRPr lang="en-US" sz="1800" dirty="0">
              <a:ea typeface="Calibri"/>
              <a:cs typeface="Calibri"/>
            </a:endParaRPr>
          </a:p>
          <a:p>
            <a:pPr marL="0" indent="0">
              <a:buNone/>
            </a:pPr>
            <a:endParaRPr lang="en-US" sz="1650" dirty="0">
              <a:ea typeface="Calibri"/>
              <a:cs typeface="Calibri"/>
            </a:endParaRPr>
          </a:p>
        </p:txBody>
      </p:sp>
      <p:pic>
        <p:nvPicPr>
          <p:cNvPr id="5" name="Picture 4" descr="Safe In Home – Remote Supports Technology – Washington State Fathers ...">
            <a:extLst>
              <a:ext uri="{FF2B5EF4-FFF2-40B4-BE49-F238E27FC236}">
                <a16:creationId xmlns:a16="http://schemas.microsoft.com/office/drawing/2014/main" id="{14029B5F-4379-6483-DBC0-253A1533570E}"/>
              </a:ext>
            </a:extLst>
          </p:cNvPr>
          <p:cNvPicPr>
            <a:picLocks noChangeAspect="1"/>
          </p:cNvPicPr>
          <p:nvPr/>
        </p:nvPicPr>
        <p:blipFill>
          <a:blip r:embed="rId2"/>
          <a:stretch>
            <a:fillRect/>
          </a:stretch>
        </p:blipFill>
        <p:spPr>
          <a:xfrm>
            <a:off x="2735107" y="557864"/>
            <a:ext cx="5939553" cy="5105023"/>
          </a:xfrm>
          <a:prstGeom prst="rect">
            <a:avLst/>
          </a:prstGeom>
        </p:spPr>
      </p:pic>
    </p:spTree>
    <p:extLst>
      <p:ext uri="{BB962C8B-B14F-4D97-AF65-F5344CB8AC3E}">
        <p14:creationId xmlns:p14="http://schemas.microsoft.com/office/powerpoint/2010/main" val="389369825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0B39675-E068-334E-B2DC-45AB43498ADB}"/>
              </a:ext>
            </a:extLst>
          </p:cNvPr>
          <p:cNvSpPr>
            <a:spLocks noGrp="1"/>
          </p:cNvSpPr>
          <p:nvPr>
            <p:ph type="title"/>
          </p:nvPr>
        </p:nvSpPr>
        <p:spPr/>
        <p:txBody>
          <a:bodyPr/>
          <a:lstStyle/>
          <a:p>
            <a:r>
              <a:rPr lang="en-US" sz="2000"/>
              <a:t>What is Remote Supports and Monitoring?</a:t>
            </a:r>
          </a:p>
        </p:txBody>
      </p:sp>
      <p:sp>
        <p:nvSpPr>
          <p:cNvPr id="4" name="Text Placeholder 3">
            <a:extLst>
              <a:ext uri="{FF2B5EF4-FFF2-40B4-BE49-F238E27FC236}">
                <a16:creationId xmlns:a16="http://schemas.microsoft.com/office/drawing/2014/main" id="{C0035EFF-D1FD-E5E0-1530-F7E2CEE59A7D}"/>
              </a:ext>
            </a:extLst>
          </p:cNvPr>
          <p:cNvSpPr>
            <a:spLocks noGrp="1"/>
          </p:cNvSpPr>
          <p:nvPr>
            <p:ph type="body" sz="quarter" idx="15"/>
          </p:nvPr>
        </p:nvSpPr>
        <p:spPr/>
        <p:txBody>
          <a:bodyPr/>
          <a:lstStyle/>
          <a:p>
            <a:r>
              <a:rPr lang="en-US"/>
              <a:t>SUPPORTIVE TECHNOLOGY</a:t>
            </a:r>
          </a:p>
        </p:txBody>
      </p:sp>
      <p:sp>
        <p:nvSpPr>
          <p:cNvPr id="2" name="Content Placeholder 1">
            <a:extLst>
              <a:ext uri="{FF2B5EF4-FFF2-40B4-BE49-F238E27FC236}">
                <a16:creationId xmlns:a16="http://schemas.microsoft.com/office/drawing/2014/main" id="{CCA1EF22-F910-C4D6-DF17-D4ECAF7CB25E}"/>
              </a:ext>
            </a:extLst>
          </p:cNvPr>
          <p:cNvSpPr>
            <a:spLocks noGrp="1"/>
          </p:cNvSpPr>
          <p:nvPr>
            <p:ph sz="quarter" idx="14"/>
          </p:nvPr>
        </p:nvSpPr>
        <p:spPr/>
        <p:txBody>
          <a:bodyPr/>
          <a:lstStyle/>
          <a:p>
            <a:r>
              <a:rPr lang="en-US" sz="2400">
                <a:solidFill>
                  <a:srgbClr val="000099"/>
                </a:solidFill>
                <a:latin typeface="Calibri" panose="020F0502020204030204" pitchFamily="34" charset="0"/>
              </a:rPr>
              <a:t>The use of two-way, real-time technology, such as a tablet, to provide support and/or supervision to individuals by a staff at a remote location. </a:t>
            </a:r>
          </a:p>
          <a:p>
            <a:r>
              <a:rPr lang="en-US" sz="2400" b="0" i="0" u="none" strike="noStrike">
                <a:solidFill>
                  <a:srgbClr val="000099"/>
                </a:solidFill>
                <a:effectLst/>
                <a:latin typeface="Calibri" panose="020F0502020204030204" pitchFamily="34" charset="0"/>
              </a:rPr>
              <a:t>Communication and non-invasive monitoring technologies to assist individuals to attain or maintain independence in their homes and communities.</a:t>
            </a:r>
          </a:p>
          <a:p>
            <a:r>
              <a:rPr lang="en-US" sz="2400">
                <a:solidFill>
                  <a:srgbClr val="000099"/>
                </a:solidFill>
                <a:latin typeface="Calibri" panose="020F0502020204030204" pitchFamily="34" charset="0"/>
              </a:rPr>
              <a:t>Platforms integrate information from sensors, Ring doorbells, wearables and other technology to give information to the call centers. </a:t>
            </a:r>
          </a:p>
          <a:p>
            <a:r>
              <a:rPr lang="en-US" sz="2400">
                <a:solidFill>
                  <a:srgbClr val="000099"/>
                </a:solidFill>
                <a:latin typeface="Calibri" panose="020F0502020204030204" pitchFamily="34" charset="0"/>
              </a:rPr>
              <a:t>Systems are personalized based on individualized goals, concerns and outcomes to determine when the person needs assistance. </a:t>
            </a:r>
            <a:endParaRPr lang="en-US" sz="2400" b="0" i="0" u="none" strike="noStrike">
              <a:solidFill>
                <a:srgbClr val="000099"/>
              </a:solidFill>
              <a:effectLst/>
              <a:latin typeface="Calibri" panose="020F0502020204030204" pitchFamily="34" charset="0"/>
            </a:endParaRPr>
          </a:p>
          <a:p>
            <a:endParaRPr lang="en-US" sz="2400" b="0" i="0" u="none" strike="noStrike">
              <a:solidFill>
                <a:srgbClr val="000099"/>
              </a:solidFill>
              <a:effectLst/>
              <a:latin typeface="Calibri" panose="020F0502020204030204" pitchFamily="34" charset="0"/>
            </a:endParaRPr>
          </a:p>
        </p:txBody>
      </p:sp>
    </p:spTree>
    <p:extLst>
      <p:ext uri="{BB962C8B-B14F-4D97-AF65-F5344CB8AC3E}">
        <p14:creationId xmlns:p14="http://schemas.microsoft.com/office/powerpoint/2010/main" val="842169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BAD5C-9F86-8406-58F8-E34FC48EC591}"/>
              </a:ext>
            </a:extLst>
          </p:cNvPr>
          <p:cNvSpPr>
            <a:spLocks noGrp="1"/>
          </p:cNvSpPr>
          <p:nvPr>
            <p:ph type="title"/>
          </p:nvPr>
        </p:nvSpPr>
        <p:spPr>
          <a:xfrm>
            <a:off x="630936" y="1049274"/>
            <a:ext cx="7879842" cy="761238"/>
          </a:xfrm>
        </p:spPr>
        <p:txBody>
          <a:bodyPr vert="horz" lIns="68580" tIns="34290" rIns="68580" bIns="34290" rtlCol="0" anchor="b">
            <a:normAutofit/>
          </a:bodyPr>
          <a:lstStyle/>
          <a:p>
            <a:r>
              <a:rPr lang="en-US" kern="1200" dirty="0">
                <a:solidFill>
                  <a:schemeClr val="tx1"/>
                </a:solidFill>
                <a:latin typeface="+mj-lt"/>
                <a:ea typeface="+mj-ea"/>
                <a:cs typeface="+mj-cs"/>
              </a:rPr>
              <a:t>Barriers to AT in I/DD</a:t>
            </a:r>
          </a:p>
        </p:txBody>
      </p:sp>
      <p:sp>
        <p:nvSpPr>
          <p:cNvPr id="5" name="Footer Placeholder 4">
            <a:extLst>
              <a:ext uri="{FF2B5EF4-FFF2-40B4-BE49-F238E27FC236}">
                <a16:creationId xmlns:a16="http://schemas.microsoft.com/office/drawing/2014/main" id="{9C66C5B0-72E6-7532-8D71-1998A0AAF903}"/>
              </a:ext>
            </a:extLst>
          </p:cNvPr>
          <p:cNvSpPr>
            <a:spLocks noGrp="1"/>
          </p:cNvSpPr>
          <p:nvPr>
            <p:ph type="ftr" sz="quarter" idx="11"/>
          </p:nvPr>
        </p:nvSpPr>
        <p:spPr>
          <a:xfrm>
            <a:off x="3028950" y="5624513"/>
            <a:ext cx="3086100" cy="273844"/>
          </a:xfrm>
        </p:spPr>
        <p:txBody>
          <a:bodyPr vert="horz" lIns="68580" tIns="34290" rIns="68580" bIns="34290" rtlCol="0" anchor="ctr">
            <a:normAutofit/>
          </a:bodyP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Boot et al, 2018; President’s Committee ID, 2017)</a:t>
            </a:r>
          </a:p>
        </p:txBody>
      </p:sp>
      <p:sp>
        <p:nvSpPr>
          <p:cNvPr id="6" name="Slide Number Placeholder 5">
            <a:extLst>
              <a:ext uri="{FF2B5EF4-FFF2-40B4-BE49-F238E27FC236}">
                <a16:creationId xmlns:a16="http://schemas.microsoft.com/office/drawing/2014/main" id="{D892A823-E08D-F654-C819-F2F817F9F1D9}"/>
              </a:ext>
            </a:extLst>
          </p:cNvPr>
          <p:cNvSpPr>
            <a:spLocks noGrp="1"/>
          </p:cNvSpPr>
          <p:nvPr>
            <p:ph type="sldNum" sz="quarter" idx="12"/>
          </p:nvPr>
        </p:nvSpPr>
        <p:spPr>
          <a:xfrm>
            <a:off x="6654940" y="5624513"/>
            <a:ext cx="1858124" cy="273844"/>
          </a:xfrm>
        </p:spPr>
        <p:txBody>
          <a:bodyPr vert="horz" lIns="68580" tIns="34290" rIns="68580" bIns="34290" rtlCol="0" anchor="ctr">
            <a:normAutofit/>
          </a:bodyPr>
          <a:lstStyle/>
          <a:p>
            <a:pPr marL="0" marR="0" lvl="0" indent="0" algn="r" defTabSz="685800" rtl="0" eaLnBrk="1" fontAlgn="auto" latinLnBrk="0" hangingPunct="1">
              <a:lnSpc>
                <a:spcPct val="100000"/>
              </a:lnSpc>
              <a:spcBef>
                <a:spcPts val="0"/>
              </a:spcBef>
              <a:spcAft>
                <a:spcPts val="450"/>
              </a:spcAft>
              <a:buClrTx/>
              <a:buSzTx/>
              <a:buFontTx/>
              <a:buNone/>
              <a:tabLst/>
              <a:defRPr/>
            </a:pPr>
            <a:fld id="{DBA1B0FB-D917-4C8C-928F-313BD683BF39}" type="slidenum">
              <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450"/>
                </a:spcAft>
                <a:buClrTx/>
                <a:buSzTx/>
                <a:buFontTx/>
                <a:buNone/>
                <a:tabLst/>
                <a:defRPr/>
              </a:pPr>
              <a:t>3</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graphicFrame>
        <p:nvGraphicFramePr>
          <p:cNvPr id="8" name="Content Placeholder 2" descr="5 rectangular boxes with text in each box that reads from left to right: Policy, Funding, Lack of Access to Assessment, Unawareness/Lack of training, Understudied Population/Subject.">
            <a:extLst>
              <a:ext uri="{FF2B5EF4-FFF2-40B4-BE49-F238E27FC236}">
                <a16:creationId xmlns:a16="http://schemas.microsoft.com/office/drawing/2014/main" id="{C8AFE6C3-3516-F54D-F7C1-A52D07378A60}"/>
              </a:ext>
            </a:extLst>
          </p:cNvPr>
          <p:cNvGraphicFramePr>
            <a:graphicFrameLocks noGrp="1"/>
          </p:cNvGraphicFramePr>
          <p:nvPr>
            <p:ph sz="half" idx="1"/>
            <p:extLst>
              <p:ext uri="{D42A27DB-BD31-4B8C-83A1-F6EECF244321}">
                <p14:modId xmlns:p14="http://schemas.microsoft.com/office/powerpoint/2010/main" val="1541208282"/>
              </p:ext>
            </p:extLst>
          </p:nvPr>
        </p:nvGraphicFramePr>
        <p:xfrm>
          <a:off x="628650" y="2301950"/>
          <a:ext cx="7886700" cy="32681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656452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B3A985-7EE2-3984-93E4-FDA697DD07D4}"/>
              </a:ext>
            </a:extLst>
          </p:cNvPr>
          <p:cNvSpPr>
            <a:spLocks noGrp="1"/>
          </p:cNvSpPr>
          <p:nvPr>
            <p:ph type="title"/>
          </p:nvPr>
        </p:nvSpPr>
        <p:spPr>
          <a:xfrm>
            <a:off x="228701" y="657085"/>
            <a:ext cx="7772400" cy="457200"/>
          </a:xfrm>
        </p:spPr>
        <p:txBody>
          <a:bodyPr anchor="ctr">
            <a:normAutofit/>
          </a:bodyPr>
          <a:lstStyle/>
          <a:p>
            <a:r>
              <a:rPr lang="en-US">
                <a:latin typeface="Arial"/>
                <a:cs typeface="Arial"/>
              </a:rPr>
              <a:t>FEATURES AND OPTIONS of REMOTE SUPPORTS &amp; MONITORING</a:t>
            </a:r>
          </a:p>
        </p:txBody>
      </p:sp>
      <p:sp>
        <p:nvSpPr>
          <p:cNvPr id="4" name="Text Placeholder 3">
            <a:extLst>
              <a:ext uri="{FF2B5EF4-FFF2-40B4-BE49-F238E27FC236}">
                <a16:creationId xmlns:a16="http://schemas.microsoft.com/office/drawing/2014/main" id="{BB8CA450-0C0B-F128-BCE7-E1EFFF051DA7}"/>
              </a:ext>
            </a:extLst>
          </p:cNvPr>
          <p:cNvSpPr>
            <a:spLocks noGrp="1"/>
          </p:cNvSpPr>
          <p:nvPr>
            <p:ph type="body" sz="quarter" idx="15"/>
          </p:nvPr>
        </p:nvSpPr>
        <p:spPr>
          <a:xfrm>
            <a:off x="228701" y="400073"/>
            <a:ext cx="7772400" cy="182880"/>
          </a:xfrm>
        </p:spPr>
        <p:txBody>
          <a:bodyPr>
            <a:normAutofit/>
          </a:bodyPr>
          <a:lstStyle/>
          <a:p>
            <a:r>
              <a:rPr lang="en-US"/>
              <a:t>SUPPORTIVE TECHNOLOGY	</a:t>
            </a:r>
          </a:p>
        </p:txBody>
      </p:sp>
      <p:sp>
        <p:nvSpPr>
          <p:cNvPr id="2" name="Content Placeholder 1">
            <a:extLst>
              <a:ext uri="{FF2B5EF4-FFF2-40B4-BE49-F238E27FC236}">
                <a16:creationId xmlns:a16="http://schemas.microsoft.com/office/drawing/2014/main" id="{2F005D82-9AA9-5BDB-C961-501D9D87EC68}"/>
              </a:ext>
            </a:extLst>
          </p:cNvPr>
          <p:cNvSpPr>
            <a:spLocks noGrp="1"/>
          </p:cNvSpPr>
          <p:nvPr>
            <p:ph sz="quarter" idx="16"/>
          </p:nvPr>
        </p:nvSpPr>
        <p:spPr>
          <a:xfrm>
            <a:off x="536448" y="1290463"/>
            <a:ext cx="4648200" cy="4910452"/>
          </a:xfrm>
        </p:spPr>
        <p:txBody>
          <a:bodyPr>
            <a:normAutofit/>
          </a:bodyPr>
          <a:lstStyle/>
          <a:p>
            <a:pPr>
              <a:buClr>
                <a:srgbClr val="000000"/>
              </a:buClr>
              <a:defRPr/>
            </a:pPr>
            <a:r>
              <a:rPr kumimoji="0" lang="en-US" sz="1800" b="0" i="0" u="none" strike="noStrike" kern="0" cap="none" spc="0" normalizeH="0" baseline="0" noProof="0">
                <a:ln>
                  <a:noFill/>
                </a:ln>
                <a:effectLst/>
                <a:uLnTx/>
                <a:uFillTx/>
              </a:rPr>
              <a:t>Individual receives personal prompts throughout the day, such as when it is time to get up and get dressed, or to take medication, etc. </a:t>
            </a:r>
          </a:p>
          <a:p>
            <a:pPr marL="174607" marR="0" lvl="0" indent="-174607" defTabSz="914400" rtl="0" eaLnBrk="1" fontAlgn="base" latinLnBrk="0" hangingPunct="1">
              <a:spcBef>
                <a:spcPts val="1000"/>
              </a:spcBef>
              <a:spcAft>
                <a:spcPct val="0"/>
              </a:spcAft>
              <a:buClr>
                <a:srgbClr val="000000"/>
              </a:buClr>
              <a:buSzTx/>
              <a:buFont typeface="Arial" panose="020B0604020202020204" pitchFamily="34" charset="0"/>
              <a:buChar char="•"/>
              <a:tabLst/>
              <a:defRPr/>
            </a:pPr>
            <a:r>
              <a:rPr kumimoji="0" lang="en-US" sz="1800" b="0" i="0" u="none" strike="noStrike" kern="0" cap="none" spc="0" normalizeH="0" baseline="0" noProof="0">
                <a:ln>
                  <a:noFill/>
                </a:ln>
                <a:effectLst/>
                <a:uLnTx/>
                <a:uFillTx/>
              </a:rPr>
              <a:t>Alert if there is no noted activity on sensors for a given amount of time.</a:t>
            </a:r>
          </a:p>
          <a:p>
            <a:pPr marL="174607" marR="0" lvl="0" indent="-174607" defTabSz="914400" rtl="0" eaLnBrk="1" fontAlgn="base" latinLnBrk="0" hangingPunct="1">
              <a:spcBef>
                <a:spcPts val="1000"/>
              </a:spcBef>
              <a:spcAft>
                <a:spcPct val="0"/>
              </a:spcAft>
              <a:buClr>
                <a:srgbClr val="000000"/>
              </a:buClr>
              <a:buSzTx/>
              <a:buFont typeface="Arial" panose="020B0604020202020204" pitchFamily="34" charset="0"/>
              <a:buChar char="•"/>
              <a:tabLst/>
              <a:defRPr/>
            </a:pPr>
            <a:r>
              <a:rPr kumimoji="0" lang="en-US" sz="1800" b="0" i="0" u="none" strike="noStrike" kern="0" cap="none" spc="0" normalizeH="0" baseline="0" noProof="0">
                <a:ln>
                  <a:noFill/>
                </a:ln>
                <a:effectLst/>
                <a:uLnTx/>
                <a:uFillTx/>
              </a:rPr>
              <a:t>There is always an identified paid support to respond within 30 minutes</a:t>
            </a:r>
          </a:p>
          <a:p>
            <a:pPr marL="174607" marR="0" lvl="0" indent="-174607" defTabSz="914400" rtl="0" eaLnBrk="1" fontAlgn="base" latinLnBrk="0" hangingPunct="1">
              <a:spcBef>
                <a:spcPts val="1000"/>
              </a:spcBef>
              <a:spcAft>
                <a:spcPct val="0"/>
              </a:spcAft>
              <a:buClr>
                <a:srgbClr val="000000"/>
              </a:buClr>
              <a:buSzTx/>
              <a:buFont typeface="Arial" panose="020B0604020202020204" pitchFamily="34" charset="0"/>
              <a:buChar char="•"/>
              <a:tabLst/>
              <a:defRPr/>
            </a:pPr>
            <a:r>
              <a:rPr kumimoji="0" lang="en-US" sz="1800" b="0" i="0" u="none" strike="noStrike" kern="0" cap="none" spc="0" normalizeH="0" baseline="0" noProof="0">
                <a:ln>
                  <a:noFill/>
                </a:ln>
                <a:effectLst/>
                <a:uLnTx/>
                <a:uFillTx/>
              </a:rPr>
              <a:t>Notifications to a </a:t>
            </a:r>
            <a:r>
              <a:rPr lang="en-US" sz="1800"/>
              <a:t>caregiver is emergency responses are activated</a:t>
            </a:r>
          </a:p>
          <a:p>
            <a:pPr marL="174607" marR="0" lvl="0" indent="-174607" defTabSz="914400" rtl="0" eaLnBrk="1" fontAlgn="base" latinLnBrk="0" hangingPunct="1">
              <a:spcBef>
                <a:spcPts val="1000"/>
              </a:spcBef>
              <a:spcAft>
                <a:spcPct val="0"/>
              </a:spcAft>
              <a:buClr>
                <a:srgbClr val="000000"/>
              </a:buClr>
              <a:buSzTx/>
              <a:buFont typeface="Arial" panose="020B0604020202020204" pitchFamily="34" charset="0"/>
              <a:buChar char="•"/>
              <a:tabLst/>
              <a:defRPr/>
            </a:pPr>
            <a:r>
              <a:rPr lang="en-US" sz="1800"/>
              <a:t>Can have services for specified times or for 24 hours a day. </a:t>
            </a:r>
          </a:p>
          <a:p>
            <a:pPr marL="174607" marR="0" lvl="0" indent="-174607" defTabSz="914400" rtl="0" eaLnBrk="1" fontAlgn="base" latinLnBrk="0" hangingPunct="1">
              <a:spcBef>
                <a:spcPts val="1000"/>
              </a:spcBef>
              <a:spcAft>
                <a:spcPct val="0"/>
              </a:spcAft>
              <a:buClr>
                <a:srgbClr val="000000"/>
              </a:buClr>
              <a:buSzTx/>
              <a:buFont typeface="Arial" panose="020B0604020202020204" pitchFamily="34" charset="0"/>
              <a:buChar char="•"/>
              <a:tabLst/>
              <a:defRPr/>
            </a:pPr>
            <a:r>
              <a:rPr kumimoji="0" lang="en-US" sz="1800" b="0" i="0" u="none" strike="noStrike" kern="0" cap="none" spc="0" normalizeH="0" baseline="0" noProof="0">
                <a:ln>
                  <a:noFill/>
                </a:ln>
                <a:effectLst/>
                <a:uLnTx/>
                <a:uFillTx/>
              </a:rPr>
              <a:t>The individual may also have a Personal Emergency Response System (PERS) as part of their plan. </a:t>
            </a:r>
          </a:p>
          <a:p>
            <a:endParaRPr lang="en-US"/>
          </a:p>
        </p:txBody>
      </p:sp>
      <p:pic>
        <p:nvPicPr>
          <p:cNvPr id="1026" name="Picture 2" descr="Assistive Technology vs Remote Supports: What’s Right For You? | SafeinHome">
            <a:extLst>
              <a:ext uri="{FF2B5EF4-FFF2-40B4-BE49-F238E27FC236}">
                <a16:creationId xmlns:a16="http://schemas.microsoft.com/office/drawing/2014/main" id="{5A82958C-A57B-68FF-419F-7997D68DC72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0720" r="33058" b="1"/>
          <a:stretch/>
        </p:blipFill>
        <p:spPr bwMode="auto">
          <a:xfrm>
            <a:off x="5283209" y="1290463"/>
            <a:ext cx="3617052" cy="4278233"/>
          </a:xfrm>
          <a:prstGeom prst="rect">
            <a:avLst/>
          </a:prstGeom>
          <a:solidFill>
            <a:srgbClr val="FFFFFF"/>
          </a:solidFill>
          <a:ln>
            <a:solidFill>
              <a:schemeClr val="tx1"/>
            </a:solidFill>
          </a:ln>
        </p:spPr>
      </p:pic>
    </p:spTree>
    <p:extLst>
      <p:ext uri="{BB962C8B-B14F-4D97-AF65-F5344CB8AC3E}">
        <p14:creationId xmlns:p14="http://schemas.microsoft.com/office/powerpoint/2010/main" val="31681253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4EF46472-B50F-4E5D-BAD5-9F216CD707F2}"/>
              </a:ext>
            </a:extLst>
          </p:cNvPr>
          <p:cNvSpPr txBox="1">
            <a:spLocks noGrp="1"/>
          </p:cNvSpPr>
          <p:nvPr>
            <p:ph type="title" idx="4294967295"/>
          </p:nvPr>
        </p:nvSpPr>
        <p:spPr>
          <a:xfrm>
            <a:off x="727365" y="2704891"/>
            <a:ext cx="2510023" cy="156966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white"/>
                </a:solidFill>
                <a:effectLst/>
                <a:uLnTx/>
                <a:uFillTx/>
                <a:latin typeface="Calibri" panose="020F0502020204030204"/>
                <a:ea typeface="+mn-ea"/>
                <a:cs typeface="+mn-cs"/>
              </a:rPr>
              <a:t>Personal Emergency Response System (PERS)</a:t>
            </a:r>
          </a:p>
        </p:txBody>
      </p:sp>
      <p:sp>
        <p:nvSpPr>
          <p:cNvPr id="29" name="Freeform: Shape 28">
            <a:extLst>
              <a:ext uri="{FF2B5EF4-FFF2-40B4-BE49-F238E27FC236}">
                <a16:creationId xmlns:a16="http://schemas.microsoft.com/office/drawing/2014/main" id="{DFF2AC85-FAA0-4844-813F-83C04D7382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80727" y="857250"/>
            <a:ext cx="5460987" cy="5143500"/>
          </a:xfrm>
          <a:custGeom>
            <a:avLst/>
            <a:gdLst>
              <a:gd name="connsiteX0" fmla="*/ 361354 w 7281316"/>
              <a:gd name="connsiteY0" fmla="*/ 0 h 6858000"/>
              <a:gd name="connsiteX1" fmla="*/ 7281316 w 7281316"/>
              <a:gd name="connsiteY1" fmla="*/ 0 h 6858000"/>
              <a:gd name="connsiteX2" fmla="*/ 7281316 w 7281316"/>
              <a:gd name="connsiteY2" fmla="*/ 6858000 h 6858000"/>
              <a:gd name="connsiteX3" fmla="*/ 696735 w 7281316"/>
              <a:gd name="connsiteY3" fmla="*/ 6858000 h 6858000"/>
              <a:gd name="connsiteX4" fmla="*/ 690849 w 7281316"/>
              <a:gd name="connsiteY4" fmla="*/ 6842426 h 6858000"/>
              <a:gd name="connsiteX5" fmla="*/ 335637 w 7281316"/>
              <a:gd name="connsiteY5" fmla="*/ 9472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81316" h="6858000">
                <a:moveTo>
                  <a:pt x="361354" y="0"/>
                </a:moveTo>
                <a:lnTo>
                  <a:pt x="7281316" y="0"/>
                </a:lnTo>
                <a:lnTo>
                  <a:pt x="7281316" y="6858000"/>
                </a:lnTo>
                <a:lnTo>
                  <a:pt x="696735" y="6858000"/>
                </a:lnTo>
                <a:lnTo>
                  <a:pt x="690849" y="6842426"/>
                </a:lnTo>
                <a:cubicBezTo>
                  <a:pt x="-65870" y="4704140"/>
                  <a:pt x="-226206" y="2374054"/>
                  <a:pt x="335637" y="94722"/>
                </a:cubicBez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31" name="Freeform: Shape 30">
            <a:extLst>
              <a:ext uri="{FF2B5EF4-FFF2-40B4-BE49-F238E27FC236}">
                <a16:creationId xmlns:a16="http://schemas.microsoft.com/office/drawing/2014/main" id="{89CC0F1E-BAA2-47B1-8F83-7ECB9FD9E0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892168" y="857250"/>
            <a:ext cx="5249546" cy="5143500"/>
          </a:xfrm>
          <a:custGeom>
            <a:avLst/>
            <a:gdLst>
              <a:gd name="connsiteX0" fmla="*/ 6999394 w 6999394"/>
              <a:gd name="connsiteY0" fmla="*/ 0 h 6858000"/>
              <a:gd name="connsiteX1" fmla="*/ 6999394 w 6999394"/>
              <a:gd name="connsiteY1" fmla="*/ 6858000 h 6858000"/>
              <a:gd name="connsiteX2" fmla="*/ 717029 w 6999394"/>
              <a:gd name="connsiteY2" fmla="*/ 6858000 h 6858000"/>
              <a:gd name="connsiteX3" fmla="*/ 623642 w 6999394"/>
              <a:gd name="connsiteY3" fmla="*/ 6599363 h 6858000"/>
              <a:gd name="connsiteX4" fmla="*/ 319533 w 6999394"/>
              <a:gd name="connsiteY4" fmla="*/ 193787 h 6858000"/>
              <a:gd name="connsiteX5" fmla="*/ 371685 w 6999394"/>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99394" h="6858000">
                <a:moveTo>
                  <a:pt x="6999394" y="0"/>
                </a:moveTo>
                <a:lnTo>
                  <a:pt x="6999394" y="6858000"/>
                </a:lnTo>
                <a:lnTo>
                  <a:pt x="717029" y="6858000"/>
                </a:lnTo>
                <a:lnTo>
                  <a:pt x="623642" y="6599363"/>
                </a:lnTo>
                <a:cubicBezTo>
                  <a:pt x="-67685" y="4563346"/>
                  <a:pt x="-206622" y="2355719"/>
                  <a:pt x="319533" y="193787"/>
                </a:cubicBezTo>
                <a:lnTo>
                  <a:pt x="371685" y="1"/>
                </a:lnTo>
                <a:close/>
              </a:path>
            </a:pathLst>
          </a:custGeom>
          <a:solidFill>
            <a:schemeClr val="tx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2" name="TextBox 1">
            <a:extLst>
              <a:ext uri="{FF2B5EF4-FFF2-40B4-BE49-F238E27FC236}">
                <a16:creationId xmlns:a16="http://schemas.microsoft.com/office/drawing/2014/main" id="{C0902956-2AEB-46E7-B481-B3E29CAE8B2E}"/>
              </a:ext>
            </a:extLst>
          </p:cNvPr>
          <p:cNvSpPr txBox="1"/>
          <p:nvPr/>
        </p:nvSpPr>
        <p:spPr>
          <a:xfrm>
            <a:off x="3679322" y="1398680"/>
            <a:ext cx="5013547" cy="4660263"/>
          </a:xfrm>
          <a:prstGeom prst="rect">
            <a:avLst/>
          </a:prstGeom>
        </p:spPr>
        <p:txBody>
          <a:bodyPr vert="horz" lIns="68580" tIns="34290" rIns="68580" bIns="34290" rtlCol="0" anchor="ctr">
            <a:normAutofit lnSpcReduction="10000"/>
          </a:bodyPr>
          <a:lstStyle/>
          <a:p>
            <a:pPr marL="424815" marR="469900" defTabSz="685800" fontAlgn="auto">
              <a:lnSpc>
                <a:spcPct val="90000"/>
              </a:lnSpc>
              <a:spcBef>
                <a:spcPts val="0"/>
              </a:spcBef>
              <a:spcAft>
                <a:spcPts val="0"/>
              </a:spcAft>
              <a:defRPr/>
            </a:pPr>
            <a:endParaRPr lang="en-US" sz="1650">
              <a:solidFill>
                <a:prstClr val="black"/>
              </a:solidFill>
              <a:latin typeface="Calibri" panose="020F0502020204030204"/>
              <a:ea typeface="Calibri" panose="020F0502020204030204"/>
              <a:cs typeface="Calibri" panose="020F0502020204030204"/>
            </a:endParaRPr>
          </a:p>
          <a:p>
            <a:pPr marL="424815" marR="469900" defTabSz="685800" fontAlgn="auto">
              <a:lnSpc>
                <a:spcPct val="90000"/>
              </a:lnSpc>
              <a:spcBef>
                <a:spcPts val="0"/>
              </a:spcBef>
              <a:spcAft>
                <a:spcPts val="0"/>
              </a:spcAft>
              <a:defRPr/>
            </a:pPr>
            <a:endParaRPr lang="en-US" sz="1650" b="1">
              <a:solidFill>
                <a:prstClr val="black"/>
              </a:solidFill>
              <a:latin typeface="Calibri" panose="020F0502020204030204"/>
              <a:ea typeface="Calibri" panose="020F0502020204030204"/>
              <a:cs typeface="Calibri" panose="020F0502020204030204"/>
            </a:endParaRPr>
          </a:p>
          <a:p>
            <a:pPr marL="596265" marR="469900" indent="-171450" defTabSz="685800" fontAlgn="auto">
              <a:lnSpc>
                <a:spcPct val="90000"/>
              </a:lnSpc>
              <a:spcBef>
                <a:spcPts val="0"/>
              </a:spcBef>
              <a:spcAft>
                <a:spcPts val="0"/>
              </a:spcAft>
              <a:buFont typeface="Arial" panose="020B0604020202020204" pitchFamily="34" charset="0"/>
              <a:buChar char="•"/>
              <a:defRPr/>
            </a:pPr>
            <a:endParaRPr lang="en-US" sz="1650">
              <a:solidFill>
                <a:prstClr val="black"/>
              </a:solidFill>
              <a:latin typeface="Calibri" panose="020F0502020204030204"/>
              <a:ea typeface="Calibri" panose="020F0502020204030204"/>
              <a:cs typeface="Calibri" panose="020F0502020204030204"/>
            </a:endParaRPr>
          </a:p>
          <a:p>
            <a:pPr marL="596265" marR="469900" indent="-171450" defTabSz="685800" fontAlgn="auto">
              <a:lnSpc>
                <a:spcPct val="90000"/>
              </a:lnSpc>
              <a:spcBef>
                <a:spcPts val="0"/>
              </a:spcBef>
              <a:spcAft>
                <a:spcPts val="0"/>
              </a:spcAft>
              <a:buFont typeface="Arial" panose="020B0604020202020204" pitchFamily="34" charset="0"/>
              <a:buChar char="•"/>
              <a:defRPr/>
            </a:pPr>
            <a:r>
              <a:rPr lang="en-US" sz="2000" dirty="0">
                <a:solidFill>
                  <a:prstClr val="black"/>
                </a:solidFill>
                <a:latin typeface="Calibri" panose="020F0502020204030204"/>
                <a:cs typeface="Arial"/>
              </a:rPr>
              <a:t>Enables an individual to secure help if an emergency using an electronic device.</a:t>
            </a:r>
            <a:endParaRPr lang="en-US" sz="2000">
              <a:solidFill>
                <a:prstClr val="black"/>
              </a:solidFill>
              <a:latin typeface="Calibri" panose="020F0502020204030204"/>
              <a:ea typeface="Calibri"/>
              <a:cs typeface="Arial"/>
            </a:endParaRPr>
          </a:p>
          <a:p>
            <a:pPr marL="596265" marR="469900" indent="-171450" defTabSz="685800" fontAlgn="auto">
              <a:lnSpc>
                <a:spcPct val="90000"/>
              </a:lnSpc>
              <a:spcBef>
                <a:spcPts val="728"/>
              </a:spcBef>
              <a:spcAft>
                <a:spcPts val="0"/>
              </a:spcAft>
              <a:buFont typeface="Arial" panose="020B0604020202020204" pitchFamily="34" charset="0"/>
              <a:buChar char="•"/>
            </a:pPr>
            <a:r>
              <a:rPr lang="en-US" sz="2000" dirty="0">
                <a:solidFill>
                  <a:prstClr val="black"/>
                </a:solidFill>
                <a:latin typeface="Calibri" panose="020F0502020204030204"/>
                <a:cs typeface="Arial"/>
              </a:rPr>
              <a:t>An electronic device(s) that is programmed </a:t>
            </a:r>
            <a:r>
              <a:rPr lang="en-US" sz="2000" spc="-11" dirty="0">
                <a:solidFill>
                  <a:prstClr val="black"/>
                </a:solidFill>
                <a:latin typeface="Calibri" panose="020F0502020204030204"/>
                <a:cs typeface="Arial"/>
              </a:rPr>
              <a:t>to </a:t>
            </a:r>
            <a:r>
              <a:rPr lang="en-US" sz="2000" dirty="0">
                <a:solidFill>
                  <a:prstClr val="black"/>
                </a:solidFill>
                <a:latin typeface="Calibri" panose="020F0502020204030204"/>
                <a:cs typeface="Arial"/>
              </a:rPr>
              <a:t>signal a response center once the help </a:t>
            </a:r>
            <a:r>
              <a:rPr lang="en-US" sz="2000" spc="-11" dirty="0">
                <a:solidFill>
                  <a:prstClr val="black"/>
                </a:solidFill>
                <a:latin typeface="Calibri" panose="020F0502020204030204"/>
                <a:cs typeface="Arial"/>
              </a:rPr>
              <a:t>button </a:t>
            </a:r>
            <a:r>
              <a:rPr lang="en-US" sz="2000" dirty="0">
                <a:solidFill>
                  <a:prstClr val="black"/>
                </a:solidFill>
                <a:latin typeface="Calibri" panose="020F0502020204030204"/>
                <a:cs typeface="Arial"/>
              </a:rPr>
              <a:t>is activated and/or sensor triggered.</a:t>
            </a:r>
            <a:endParaRPr lang="en-US" sz="2000">
              <a:solidFill>
                <a:prstClr val="black"/>
              </a:solidFill>
              <a:latin typeface="Calibri" panose="020F0502020204030204"/>
              <a:ea typeface="Calibri" panose="020F0502020204030204"/>
              <a:cs typeface="Arial"/>
            </a:endParaRPr>
          </a:p>
          <a:p>
            <a:pPr marL="596265" marR="469900" indent="-171450" defTabSz="685800" fontAlgn="auto">
              <a:lnSpc>
                <a:spcPct val="90000"/>
              </a:lnSpc>
              <a:spcBef>
                <a:spcPts val="728"/>
              </a:spcBef>
              <a:spcAft>
                <a:spcPts val="0"/>
              </a:spcAft>
              <a:buFont typeface="Arial" panose="020B0604020202020204" pitchFamily="34" charset="0"/>
              <a:buChar char="•"/>
            </a:pPr>
            <a:r>
              <a:rPr lang="en-US" sz="2000" dirty="0">
                <a:solidFill>
                  <a:prstClr val="black"/>
                </a:solidFill>
                <a:latin typeface="Calibri" panose="020F0502020204030204"/>
                <a:cs typeface="Arial"/>
              </a:rPr>
              <a:t>The emergency response activator must be able to be activated by breath, by touch or some other means and must be usable by any person who may be visually or hearing impaired or physically disabled.</a:t>
            </a:r>
            <a:r>
              <a:rPr lang="en-US" sz="1650" dirty="0">
                <a:solidFill>
                  <a:prstClr val="black"/>
                </a:solidFill>
                <a:latin typeface="Calibri" panose="020F0502020204030204"/>
                <a:cs typeface="Arial"/>
              </a:rPr>
              <a:t> </a:t>
            </a:r>
            <a:endParaRPr lang="en-US" sz="1650" dirty="0">
              <a:solidFill>
                <a:prstClr val="black"/>
              </a:solidFill>
              <a:latin typeface="Calibri" panose="020F0502020204030204"/>
              <a:ea typeface="Calibri" panose="020F0502020204030204"/>
              <a:cs typeface="Arial"/>
            </a:endParaRPr>
          </a:p>
          <a:p>
            <a:pPr marL="253365" marR="469900" indent="-171450" defTabSz="685800" fontAlgn="auto">
              <a:lnSpc>
                <a:spcPct val="90000"/>
              </a:lnSpc>
              <a:spcBef>
                <a:spcPts val="728"/>
              </a:spcBef>
              <a:spcAft>
                <a:spcPts val="0"/>
              </a:spcAft>
              <a:buFont typeface="Arial" panose="020B0604020202020204" pitchFamily="34" charset="0"/>
              <a:buChar char="•"/>
            </a:pPr>
            <a:endParaRPr lang="en-US" sz="1650">
              <a:solidFill>
                <a:prstClr val="black"/>
              </a:solidFill>
              <a:latin typeface="Calibri" panose="020F0502020204030204"/>
              <a:ea typeface="Calibri" panose="020F0502020204030204"/>
              <a:cs typeface="Calibri" panose="020F0502020204030204"/>
            </a:endParaRPr>
          </a:p>
          <a:p>
            <a:pPr indent="-171450" defTabSz="685800" fontAlgn="auto">
              <a:lnSpc>
                <a:spcPct val="90000"/>
              </a:lnSpc>
              <a:spcBef>
                <a:spcPts val="0"/>
              </a:spcBef>
              <a:spcAft>
                <a:spcPts val="0"/>
              </a:spcAft>
              <a:buFont typeface="Arial" panose="020B0604020202020204" pitchFamily="34" charset="0"/>
              <a:buChar char="•"/>
            </a:pPr>
            <a:endParaRPr lang="en-US" sz="1650">
              <a:solidFill>
                <a:prstClr val="black"/>
              </a:solidFill>
              <a:latin typeface="Calibri" panose="020F0502020204030204"/>
            </a:endParaRPr>
          </a:p>
          <a:p>
            <a:pPr indent="-171450" defTabSz="685800" fontAlgn="auto">
              <a:lnSpc>
                <a:spcPct val="90000"/>
              </a:lnSpc>
              <a:spcBef>
                <a:spcPts val="11"/>
              </a:spcBef>
              <a:spcAft>
                <a:spcPts val="0"/>
              </a:spcAft>
              <a:buFont typeface="Arial" panose="020B0604020202020204" pitchFamily="34" charset="0"/>
              <a:buChar char="•"/>
            </a:pPr>
            <a:endParaRPr lang="en-US" sz="1650">
              <a:solidFill>
                <a:prstClr val="black"/>
              </a:solidFill>
              <a:latin typeface="Calibri" panose="020F0502020204030204"/>
            </a:endParaRPr>
          </a:p>
        </p:txBody>
      </p:sp>
      <p:pic>
        <p:nvPicPr>
          <p:cNvPr id="6" name="Picture 5">
            <a:extLst>
              <a:ext uri="{FF2B5EF4-FFF2-40B4-BE49-F238E27FC236}">
                <a16:creationId xmlns:a16="http://schemas.microsoft.com/office/drawing/2014/main" id="{EA6F375A-ADDB-456A-94E3-C5E5F4C9DE48}"/>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86700" y="971550"/>
            <a:ext cx="1193409" cy="857250"/>
          </a:xfrm>
          <a:prstGeom prst="rect">
            <a:avLst/>
          </a:prstGeom>
        </p:spPr>
      </p:pic>
      <p:sp>
        <p:nvSpPr>
          <p:cNvPr id="3" name="Slide Number Placeholder 2">
            <a:extLst>
              <a:ext uri="{FF2B5EF4-FFF2-40B4-BE49-F238E27FC236}">
                <a16:creationId xmlns:a16="http://schemas.microsoft.com/office/drawing/2014/main" id="{98FF69BE-DD37-4709-9227-3F4B05CB2582}"/>
              </a:ext>
            </a:extLst>
          </p:cNvPr>
          <p:cNvSpPr>
            <a:spLocks noGrp="1"/>
          </p:cNvSpPr>
          <p:nvPr>
            <p:ph type="sldNum" sz="quarter" idx="12"/>
          </p:nvPr>
        </p:nvSpPr>
        <p:spPr/>
        <p:txBody>
          <a:bodyPr/>
          <a:lstStyle/>
          <a:p>
            <a:pPr defTabSz="685800" fontAlgn="auto">
              <a:spcBef>
                <a:spcPts val="0"/>
              </a:spcBef>
              <a:spcAft>
                <a:spcPts val="0"/>
              </a:spcAft>
              <a:defRPr/>
            </a:pPr>
            <a:fld id="{90A9E658-6C7B-4546-9FE3-35CF73600A22}" type="slidenum">
              <a:rPr lang="en-US" altLang="en-US">
                <a:solidFill>
                  <a:prstClr val="black"/>
                </a:solidFill>
                <a:latin typeface="Calibri" panose="020F0502020204030204"/>
              </a:rPr>
              <a:pPr defTabSz="685800" fontAlgn="auto">
                <a:spcBef>
                  <a:spcPts val="0"/>
                </a:spcBef>
                <a:spcAft>
                  <a:spcPts val="0"/>
                </a:spcAft>
                <a:defRPr/>
              </a:pPr>
              <a:t>31</a:t>
            </a:fld>
            <a:endParaRPr lang="en-US" altLang="en-US">
              <a:solidFill>
                <a:prstClr val="black"/>
              </a:solidFill>
              <a:latin typeface="Calibri" panose="020F0502020204030204"/>
            </a:endParaRPr>
          </a:p>
        </p:txBody>
      </p:sp>
    </p:spTree>
    <p:extLst>
      <p:ext uri="{BB962C8B-B14F-4D97-AF65-F5344CB8AC3E}">
        <p14:creationId xmlns:p14="http://schemas.microsoft.com/office/powerpoint/2010/main" val="2765830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9" name="Rectangle 15">
            <a:extLst>
              <a:ext uri="{FF2B5EF4-FFF2-40B4-BE49-F238E27FC236}">
                <a16:creationId xmlns:a16="http://schemas.microsoft.com/office/drawing/2014/main" id="{2E442304-DDBD-4F7B-8017-36BCC863FB4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5" name="Title 4">
            <a:extLst>
              <a:ext uri="{FF2B5EF4-FFF2-40B4-BE49-F238E27FC236}">
                <a16:creationId xmlns:a16="http://schemas.microsoft.com/office/drawing/2014/main" id="{BBED45FC-D0AD-4326-8CE3-D88433D84266}"/>
              </a:ext>
            </a:extLst>
          </p:cNvPr>
          <p:cNvSpPr txBox="1">
            <a:spLocks noGrp="1"/>
          </p:cNvSpPr>
          <p:nvPr>
            <p:ph type="title" idx="4294967295"/>
          </p:nvPr>
        </p:nvSpPr>
        <p:spPr>
          <a:xfrm>
            <a:off x="699774" y="2304288"/>
            <a:ext cx="2149590" cy="267765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Examples of Assistive Technology</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Use with Remote Supports &amp; Monitoring</a:t>
            </a:r>
          </a:p>
        </p:txBody>
      </p:sp>
      <p:sp>
        <p:nvSpPr>
          <p:cNvPr id="40"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220588" y="3454289"/>
            <a:ext cx="4057650" cy="13716"/>
          </a:xfrm>
          <a:custGeom>
            <a:avLst/>
            <a:gdLst>
              <a:gd name="connsiteX0" fmla="*/ 0 w 4057650"/>
              <a:gd name="connsiteY0" fmla="*/ 0 h 13716"/>
              <a:gd name="connsiteX1" fmla="*/ 757428 w 4057650"/>
              <a:gd name="connsiteY1" fmla="*/ 0 h 13716"/>
              <a:gd name="connsiteX2" fmla="*/ 1474279 w 4057650"/>
              <a:gd name="connsiteY2" fmla="*/ 0 h 13716"/>
              <a:gd name="connsiteX3" fmla="*/ 2191131 w 4057650"/>
              <a:gd name="connsiteY3" fmla="*/ 0 h 13716"/>
              <a:gd name="connsiteX4" fmla="*/ 2745676 w 4057650"/>
              <a:gd name="connsiteY4" fmla="*/ 0 h 13716"/>
              <a:gd name="connsiteX5" fmla="*/ 3340798 w 4057650"/>
              <a:gd name="connsiteY5" fmla="*/ 0 h 13716"/>
              <a:gd name="connsiteX6" fmla="*/ 4057650 w 4057650"/>
              <a:gd name="connsiteY6" fmla="*/ 0 h 13716"/>
              <a:gd name="connsiteX7" fmla="*/ 4057650 w 4057650"/>
              <a:gd name="connsiteY7" fmla="*/ 13716 h 13716"/>
              <a:gd name="connsiteX8" fmla="*/ 3381375 w 4057650"/>
              <a:gd name="connsiteY8" fmla="*/ 13716 h 13716"/>
              <a:gd name="connsiteX9" fmla="*/ 2826830 w 4057650"/>
              <a:gd name="connsiteY9" fmla="*/ 13716 h 13716"/>
              <a:gd name="connsiteX10" fmla="*/ 2272284 w 4057650"/>
              <a:gd name="connsiteY10" fmla="*/ 13716 h 13716"/>
              <a:gd name="connsiteX11" fmla="*/ 1555432 w 4057650"/>
              <a:gd name="connsiteY11" fmla="*/ 13716 h 13716"/>
              <a:gd name="connsiteX12" fmla="*/ 960310 w 4057650"/>
              <a:gd name="connsiteY12" fmla="*/ 13716 h 13716"/>
              <a:gd name="connsiteX13" fmla="*/ 0 w 4057650"/>
              <a:gd name="connsiteY13" fmla="*/ 13716 h 13716"/>
              <a:gd name="connsiteX14" fmla="*/ 0 w 4057650"/>
              <a:gd name="connsiteY14" fmla="*/ 0 h 1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57650" h="13716" fill="none" extrusionOk="0">
                <a:moveTo>
                  <a:pt x="0" y="0"/>
                </a:moveTo>
                <a:cubicBezTo>
                  <a:pt x="371182" y="3227"/>
                  <a:pt x="494372" y="9222"/>
                  <a:pt x="757428" y="0"/>
                </a:cubicBezTo>
                <a:cubicBezTo>
                  <a:pt x="1020484" y="-9222"/>
                  <a:pt x="1116719" y="-4357"/>
                  <a:pt x="1474279" y="0"/>
                </a:cubicBezTo>
                <a:cubicBezTo>
                  <a:pt x="1831839" y="4357"/>
                  <a:pt x="1920973" y="-11809"/>
                  <a:pt x="2191131" y="0"/>
                </a:cubicBezTo>
                <a:cubicBezTo>
                  <a:pt x="2461289" y="11809"/>
                  <a:pt x="2589480" y="-22604"/>
                  <a:pt x="2745676" y="0"/>
                </a:cubicBezTo>
                <a:cubicBezTo>
                  <a:pt x="2901872" y="22604"/>
                  <a:pt x="3136452" y="-12306"/>
                  <a:pt x="3340798" y="0"/>
                </a:cubicBezTo>
                <a:cubicBezTo>
                  <a:pt x="3545144" y="12306"/>
                  <a:pt x="3766934" y="-21556"/>
                  <a:pt x="4057650" y="0"/>
                </a:cubicBezTo>
                <a:cubicBezTo>
                  <a:pt x="4057378" y="4708"/>
                  <a:pt x="4057987" y="7132"/>
                  <a:pt x="4057650" y="13716"/>
                </a:cubicBezTo>
                <a:cubicBezTo>
                  <a:pt x="3743404" y="35553"/>
                  <a:pt x="3625516" y="-19495"/>
                  <a:pt x="3381375" y="13716"/>
                </a:cubicBezTo>
                <a:cubicBezTo>
                  <a:pt x="3137235" y="46927"/>
                  <a:pt x="2946571" y="-4571"/>
                  <a:pt x="2826830" y="13716"/>
                </a:cubicBezTo>
                <a:cubicBezTo>
                  <a:pt x="2707090" y="32003"/>
                  <a:pt x="2402756" y="-3140"/>
                  <a:pt x="2272284" y="13716"/>
                </a:cubicBezTo>
                <a:cubicBezTo>
                  <a:pt x="2141812" y="30572"/>
                  <a:pt x="1895935" y="13627"/>
                  <a:pt x="1555432" y="13716"/>
                </a:cubicBezTo>
                <a:cubicBezTo>
                  <a:pt x="1214929" y="13805"/>
                  <a:pt x="1103072" y="9931"/>
                  <a:pt x="960310" y="13716"/>
                </a:cubicBezTo>
                <a:cubicBezTo>
                  <a:pt x="817548" y="17501"/>
                  <a:pt x="402272" y="-33931"/>
                  <a:pt x="0" y="13716"/>
                </a:cubicBezTo>
                <a:cubicBezTo>
                  <a:pt x="-460" y="10837"/>
                  <a:pt x="38" y="6680"/>
                  <a:pt x="0" y="0"/>
                </a:cubicBezTo>
                <a:close/>
              </a:path>
              <a:path w="4057650" h="13716" stroke="0" extrusionOk="0">
                <a:moveTo>
                  <a:pt x="0" y="0"/>
                </a:moveTo>
                <a:cubicBezTo>
                  <a:pt x="248348" y="13145"/>
                  <a:pt x="486117" y="25042"/>
                  <a:pt x="635698" y="0"/>
                </a:cubicBezTo>
                <a:cubicBezTo>
                  <a:pt x="785279" y="-25042"/>
                  <a:pt x="917762" y="-5537"/>
                  <a:pt x="1190244" y="0"/>
                </a:cubicBezTo>
                <a:cubicBezTo>
                  <a:pt x="1462726" y="5537"/>
                  <a:pt x="1667120" y="-21232"/>
                  <a:pt x="1947672" y="0"/>
                </a:cubicBezTo>
                <a:cubicBezTo>
                  <a:pt x="2228224" y="21232"/>
                  <a:pt x="2280631" y="-21698"/>
                  <a:pt x="2583370" y="0"/>
                </a:cubicBezTo>
                <a:cubicBezTo>
                  <a:pt x="2886109" y="21698"/>
                  <a:pt x="3022941" y="19647"/>
                  <a:pt x="3219069" y="0"/>
                </a:cubicBezTo>
                <a:cubicBezTo>
                  <a:pt x="3415197" y="-19647"/>
                  <a:pt x="3747500" y="26991"/>
                  <a:pt x="4057650" y="0"/>
                </a:cubicBezTo>
                <a:cubicBezTo>
                  <a:pt x="4056980" y="3019"/>
                  <a:pt x="4057134" y="10425"/>
                  <a:pt x="4057650" y="13716"/>
                </a:cubicBezTo>
                <a:cubicBezTo>
                  <a:pt x="3865148" y="-7885"/>
                  <a:pt x="3702543" y="44896"/>
                  <a:pt x="3381375" y="13716"/>
                </a:cubicBezTo>
                <a:cubicBezTo>
                  <a:pt x="3060208" y="-17464"/>
                  <a:pt x="2956571" y="-13250"/>
                  <a:pt x="2826830" y="13716"/>
                </a:cubicBezTo>
                <a:cubicBezTo>
                  <a:pt x="2697089" y="40682"/>
                  <a:pt x="2411031" y="38582"/>
                  <a:pt x="2150555" y="13716"/>
                </a:cubicBezTo>
                <a:cubicBezTo>
                  <a:pt x="1890080" y="-11150"/>
                  <a:pt x="1741827" y="-5187"/>
                  <a:pt x="1474280" y="13716"/>
                </a:cubicBezTo>
                <a:cubicBezTo>
                  <a:pt x="1206734" y="32619"/>
                  <a:pt x="998203" y="28763"/>
                  <a:pt x="838581" y="13716"/>
                </a:cubicBezTo>
                <a:cubicBezTo>
                  <a:pt x="678959" y="-1331"/>
                  <a:pt x="187101" y="-17784"/>
                  <a:pt x="0" y="13716"/>
                </a:cubicBezTo>
                <a:cubicBezTo>
                  <a:pt x="-114" y="7033"/>
                  <a:pt x="103" y="3429"/>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2" name="TextBox 1">
            <a:extLst>
              <a:ext uri="{FF2B5EF4-FFF2-40B4-BE49-F238E27FC236}">
                <a16:creationId xmlns:a16="http://schemas.microsoft.com/office/drawing/2014/main" id="{B1595787-D464-49EB-8752-1708C62826F8}"/>
              </a:ext>
              <a:ext uri="{C183D7F6-B498-43B3-948B-1728B52AA6E4}">
                <adec:decorative xmlns:adec="http://schemas.microsoft.com/office/drawing/2017/decorative" val="1"/>
              </a:ext>
            </a:extLst>
          </p:cNvPr>
          <p:cNvSpPr txBox="1"/>
          <p:nvPr/>
        </p:nvSpPr>
        <p:spPr>
          <a:xfrm>
            <a:off x="4000500" y="1714500"/>
            <a:ext cx="4114800" cy="300082"/>
          </a:xfrm>
          <a:prstGeom prst="rect">
            <a:avLst/>
          </a:prstGeom>
          <a:noFill/>
        </p:spPr>
        <p:txBody>
          <a:bodyPr wrap="square" rtlCol="0">
            <a:spAutoFit/>
          </a:bodyPr>
          <a:lstStyle/>
          <a:p>
            <a:pPr defTabSz="685800" fontAlgn="auto">
              <a:spcBef>
                <a:spcPts val="0"/>
              </a:spcBef>
              <a:spcAft>
                <a:spcPts val="0"/>
              </a:spcAft>
            </a:pPr>
            <a:endParaRPr lang="en-US" sz="1350">
              <a:solidFill>
                <a:prstClr val="black"/>
              </a:solidFill>
              <a:latin typeface="Calibri" panose="020F0502020204030204"/>
            </a:endParaRPr>
          </a:p>
        </p:txBody>
      </p:sp>
      <p:graphicFrame>
        <p:nvGraphicFramePr>
          <p:cNvPr id="41" name="TextBox 3" descr="A list of assistive technology devices and tools for safety and accessibility. Items include: electronic motion sensor devices, door alarms, stove sensors, modified telephones with picture buttons or flashing lights, fall alert devices for wheelchairs or walkers, seizure detection bracelets, low vision enhancement tools, voice-activated technology, and hand-held computer devices">
            <a:extLst>
              <a:ext uri="{FF2B5EF4-FFF2-40B4-BE49-F238E27FC236}">
                <a16:creationId xmlns:a16="http://schemas.microsoft.com/office/drawing/2014/main" id="{845C9404-F7FE-4A69-9D8C-507DB9EDB818}"/>
              </a:ext>
            </a:extLst>
          </p:cNvPr>
          <p:cNvGraphicFramePr/>
          <p:nvPr>
            <p:extLst>
              <p:ext uri="{D42A27DB-BD31-4B8C-83A1-F6EECF244321}">
                <p14:modId xmlns:p14="http://schemas.microsoft.com/office/powerpoint/2010/main" val="2249242059"/>
              </p:ext>
            </p:extLst>
          </p:nvPr>
        </p:nvGraphicFramePr>
        <p:xfrm>
          <a:off x="3505293" y="1432323"/>
          <a:ext cx="5175384" cy="41521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a:extLst>
              <a:ext uri="{FF2B5EF4-FFF2-40B4-BE49-F238E27FC236}">
                <a16:creationId xmlns:a16="http://schemas.microsoft.com/office/drawing/2014/main" id="{493AA301-BBE5-4ADF-BB01-F6558188DE34}"/>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06139" y="1003698"/>
            <a:ext cx="1069095" cy="767953"/>
          </a:xfrm>
          <a:prstGeom prst="rect">
            <a:avLst/>
          </a:prstGeom>
        </p:spPr>
      </p:pic>
      <p:sp>
        <p:nvSpPr>
          <p:cNvPr id="3" name="Slide Number Placeholder 2">
            <a:extLst>
              <a:ext uri="{FF2B5EF4-FFF2-40B4-BE49-F238E27FC236}">
                <a16:creationId xmlns:a16="http://schemas.microsoft.com/office/drawing/2014/main" id="{21BB0F20-39B4-4352-99C8-4FE884184F35}"/>
              </a:ext>
            </a:extLst>
          </p:cNvPr>
          <p:cNvSpPr>
            <a:spLocks noGrp="1"/>
          </p:cNvSpPr>
          <p:nvPr>
            <p:ph type="sldNum" sz="quarter" idx="12"/>
          </p:nvPr>
        </p:nvSpPr>
        <p:spPr/>
        <p:txBody>
          <a:bodyPr/>
          <a:lstStyle/>
          <a:p>
            <a:pPr defTabSz="685800" fontAlgn="auto">
              <a:spcBef>
                <a:spcPts val="0"/>
              </a:spcBef>
              <a:spcAft>
                <a:spcPts val="0"/>
              </a:spcAft>
              <a:defRPr/>
            </a:pPr>
            <a:fld id="{90A9E658-6C7B-4546-9FE3-35CF73600A22}" type="slidenum">
              <a:rPr lang="en-US" altLang="en-US">
                <a:solidFill>
                  <a:prstClr val="black">
                    <a:tint val="75000"/>
                  </a:prstClr>
                </a:solidFill>
                <a:latin typeface="Calibri" panose="020F0502020204030204"/>
              </a:rPr>
              <a:pPr defTabSz="685800" fontAlgn="auto">
                <a:spcBef>
                  <a:spcPts val="0"/>
                </a:spcBef>
                <a:spcAft>
                  <a:spcPts val="0"/>
                </a:spcAft>
                <a:defRPr/>
              </a:pPr>
              <a:t>32</a:t>
            </a:fld>
            <a:endParaRPr lang="en-US" altLang="en-US">
              <a:solidFill>
                <a:prstClr val="black">
                  <a:tint val="75000"/>
                </a:prstClr>
              </a:solidFill>
              <a:latin typeface="Calibri" panose="020F0502020204030204"/>
            </a:endParaRPr>
          </a:p>
        </p:txBody>
      </p:sp>
    </p:spTree>
    <p:extLst>
      <p:ext uri="{BB962C8B-B14F-4D97-AF65-F5344CB8AC3E}">
        <p14:creationId xmlns:p14="http://schemas.microsoft.com/office/powerpoint/2010/main" val="38280196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7E3F6B0-7FC9-2E2D-2BA3-ABBED9B641FD}"/>
              </a:ext>
            </a:extLst>
          </p:cNvPr>
          <p:cNvSpPr>
            <a:spLocks noGrp="1"/>
          </p:cNvSpPr>
          <p:nvPr>
            <p:ph type="title"/>
          </p:nvPr>
        </p:nvSpPr>
        <p:spPr/>
        <p:txBody>
          <a:bodyPr/>
          <a:lstStyle/>
          <a:p>
            <a:r>
              <a:rPr lang="en-US" sz="2400"/>
              <a:t>Levels of RSM</a:t>
            </a:r>
          </a:p>
        </p:txBody>
      </p:sp>
      <p:sp>
        <p:nvSpPr>
          <p:cNvPr id="4" name="Text Placeholder 3">
            <a:extLst>
              <a:ext uri="{FF2B5EF4-FFF2-40B4-BE49-F238E27FC236}">
                <a16:creationId xmlns:a16="http://schemas.microsoft.com/office/drawing/2014/main" id="{25EB5B26-B413-B3A4-B3C9-11BE7B0AEDC3}"/>
              </a:ext>
            </a:extLst>
          </p:cNvPr>
          <p:cNvSpPr>
            <a:spLocks noGrp="1"/>
          </p:cNvSpPr>
          <p:nvPr>
            <p:ph type="body" sz="quarter" idx="15"/>
          </p:nvPr>
        </p:nvSpPr>
        <p:spPr/>
        <p:txBody>
          <a:bodyPr/>
          <a:lstStyle/>
          <a:p>
            <a:r>
              <a:rPr lang="en-US"/>
              <a:t>SUPPORTIVE TECHNOLOGY</a:t>
            </a:r>
          </a:p>
        </p:txBody>
      </p:sp>
      <p:sp>
        <p:nvSpPr>
          <p:cNvPr id="2" name="Content Placeholder 1">
            <a:extLst>
              <a:ext uri="{FF2B5EF4-FFF2-40B4-BE49-F238E27FC236}">
                <a16:creationId xmlns:a16="http://schemas.microsoft.com/office/drawing/2014/main" id="{3EF396FD-0AFC-2318-8EC6-6EB112214752}"/>
              </a:ext>
            </a:extLst>
          </p:cNvPr>
          <p:cNvSpPr>
            <a:spLocks noGrp="1"/>
          </p:cNvSpPr>
          <p:nvPr>
            <p:ph sz="quarter" idx="14"/>
          </p:nvPr>
        </p:nvSpPr>
        <p:spPr/>
        <p:txBody>
          <a:bodyPr/>
          <a:lstStyle/>
          <a:p>
            <a:pPr marL="0" marR="0">
              <a:lnSpc>
                <a:spcPct val="105000"/>
              </a:lnSpc>
            </a:pPr>
            <a:r>
              <a:rPr lang="en-US" sz="1800" b="1">
                <a:effectLst/>
                <a:latin typeface="Aptos" panose="020B0004020202020204" pitchFamily="34" charset="0"/>
                <a:ea typeface="Aptos" panose="020B0004020202020204" pitchFamily="34" charset="0"/>
                <a:cs typeface="Aptos" panose="020B0004020202020204" pitchFamily="34" charset="0"/>
              </a:rPr>
              <a:t>Level A – </a:t>
            </a:r>
            <a:r>
              <a:rPr lang="en-US" sz="1800">
                <a:effectLst/>
                <a:latin typeface="Aptos" panose="020B0004020202020204" pitchFamily="34" charset="0"/>
                <a:ea typeface="Aptos" panose="020B0004020202020204" pitchFamily="34" charset="0"/>
                <a:cs typeface="Aptos" panose="020B0004020202020204" pitchFamily="34" charset="0"/>
              </a:rPr>
              <a:t>RSM services that require two-way video/audio feed for staff to provide support real-time scheduled check-ins and supports by remote caregiver, on-demand support initiated by the individual. This level of support provides in-person backup support.  </a:t>
            </a:r>
            <a:r>
              <a:rPr lang="en-US" sz="1800" b="1">
                <a:effectLst/>
                <a:latin typeface="Aptos" panose="020B0004020202020204" pitchFamily="34" charset="0"/>
                <a:ea typeface="Aptos" panose="020B0004020202020204" pitchFamily="34" charset="0"/>
                <a:cs typeface="Aptos" panose="020B0004020202020204" pitchFamily="34" charset="0"/>
              </a:rPr>
              <a:t>This level provides up to 15 hours per week of scheduled, on-demand, or individual-initiated remote supports.</a:t>
            </a:r>
          </a:p>
          <a:p>
            <a:pPr marL="0" marR="0">
              <a:lnSpc>
                <a:spcPct val="105000"/>
              </a:lnSpc>
            </a:pP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lnSpc>
                <a:spcPct val="105000"/>
              </a:lnSpc>
            </a:pPr>
            <a:r>
              <a:rPr lang="en-US" sz="1800" b="1">
                <a:effectLst/>
                <a:latin typeface="Aptos" panose="020B0004020202020204" pitchFamily="34" charset="0"/>
                <a:ea typeface="Aptos" panose="020B0004020202020204" pitchFamily="34" charset="0"/>
                <a:cs typeface="Aptos" panose="020B0004020202020204" pitchFamily="34" charset="0"/>
              </a:rPr>
              <a:t>Level B – </a:t>
            </a:r>
            <a:r>
              <a:rPr lang="en-US" sz="1800">
                <a:effectLst/>
                <a:latin typeface="Aptos" panose="020B0004020202020204" pitchFamily="34" charset="0"/>
                <a:ea typeface="Aptos" panose="020B0004020202020204" pitchFamily="34" charset="0"/>
                <a:cs typeface="Aptos" panose="020B0004020202020204" pitchFamily="34" charset="0"/>
              </a:rPr>
              <a:t>Same as Level A, plus: The provision of an enhanced personal emergency response system (PERS) which requires sensors or other safety mechanisms to send an alert to the remote monitoring center identifying an emergency, per an individual’s plan, to initiate appropriate emergency response or in-person backup support.  </a:t>
            </a:r>
            <a:r>
              <a:rPr lang="en-US" sz="1800" b="1">
                <a:effectLst/>
                <a:latin typeface="Aptos" panose="020B0004020202020204" pitchFamily="34" charset="0"/>
                <a:ea typeface="Aptos" panose="020B0004020202020204" pitchFamily="34" charset="0"/>
                <a:cs typeface="Aptos" panose="020B0004020202020204" pitchFamily="34" charset="0"/>
              </a:rPr>
              <a:t>This level provides 16-25 hours per week of scheduled, on-demand, or individual-initiated remote supports.</a:t>
            </a:r>
          </a:p>
          <a:p>
            <a:pPr marL="0" marR="0" indent="0">
              <a:lnSpc>
                <a:spcPct val="105000"/>
              </a:lnSpc>
              <a:buNone/>
            </a:pPr>
            <a:endParaRPr lang="en-US" sz="1800">
              <a:effectLst/>
              <a:latin typeface="Aptos" panose="020B0004020202020204" pitchFamily="34" charset="0"/>
              <a:ea typeface="Aptos" panose="020B0004020202020204" pitchFamily="34" charset="0"/>
              <a:cs typeface="Aptos" panose="020B0004020202020204" pitchFamily="34" charset="0"/>
            </a:endParaRPr>
          </a:p>
          <a:p>
            <a:pPr marL="0" marR="0">
              <a:lnSpc>
                <a:spcPct val="105000"/>
              </a:lnSpc>
            </a:pPr>
            <a:r>
              <a:rPr lang="en-US" sz="1800" b="1">
                <a:effectLst/>
                <a:latin typeface="Aptos" panose="020B0004020202020204" pitchFamily="34" charset="0"/>
                <a:ea typeface="Aptos" panose="020B0004020202020204" pitchFamily="34" charset="0"/>
                <a:cs typeface="Aptos" panose="020B0004020202020204" pitchFamily="34" charset="0"/>
              </a:rPr>
              <a:t>Level C </a:t>
            </a:r>
            <a:r>
              <a:rPr lang="en-US" sz="1800" b="1">
                <a:latin typeface="Aptos" panose="020B0004020202020204" pitchFamily="34" charset="0"/>
                <a:ea typeface="Aptos" panose="020B0004020202020204" pitchFamily="34" charset="0"/>
                <a:cs typeface="Aptos" panose="020B0004020202020204" pitchFamily="34" charset="0"/>
              </a:rPr>
              <a:t>– </a:t>
            </a:r>
            <a:r>
              <a:rPr lang="en-US" sz="1800">
                <a:latin typeface="Aptos" panose="020B0004020202020204" pitchFamily="34" charset="0"/>
                <a:ea typeface="Aptos" panose="020B0004020202020204" pitchFamily="34" charset="0"/>
                <a:cs typeface="Aptos" panose="020B0004020202020204" pitchFamily="34" charset="0"/>
              </a:rPr>
              <a:t>Same as Level A and B, </a:t>
            </a:r>
            <a:r>
              <a:rPr lang="en-US" sz="1800" b="1">
                <a:effectLst/>
                <a:latin typeface="Aptos" panose="020B0004020202020204" pitchFamily="34" charset="0"/>
                <a:ea typeface="Aptos" panose="020B0004020202020204" pitchFamily="34" charset="0"/>
                <a:cs typeface="Aptos" panose="020B0004020202020204" pitchFamily="34" charset="0"/>
              </a:rPr>
              <a:t>This level provides 26 or more hours per week of scheduled, on-demand, or individual-initiated remote supports.</a:t>
            </a:r>
            <a:endParaRPr lang="en-US" sz="1800">
              <a:effectLst/>
              <a:latin typeface="Aptos" panose="020B0004020202020204" pitchFamily="34" charset="0"/>
              <a:ea typeface="Aptos" panose="020B0004020202020204" pitchFamily="34" charset="0"/>
              <a:cs typeface="Aptos" panose="020B0004020202020204" pitchFamily="34" charset="0"/>
            </a:endParaRPr>
          </a:p>
          <a:p>
            <a:endParaRPr lang="en-US" sz="2800"/>
          </a:p>
        </p:txBody>
      </p:sp>
    </p:spTree>
    <p:extLst>
      <p:ext uri="{BB962C8B-B14F-4D97-AF65-F5344CB8AC3E}">
        <p14:creationId xmlns:p14="http://schemas.microsoft.com/office/powerpoint/2010/main" val="38849220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66217-E6BC-DEB7-8AA8-E7D4D5514D3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FF0698B-AF22-B3D8-80DA-FC4B624AAA63}"/>
              </a:ext>
            </a:extLst>
          </p:cNvPr>
          <p:cNvSpPr>
            <a:spLocks noGrp="1"/>
          </p:cNvSpPr>
          <p:nvPr>
            <p:ph type="ctrTitle"/>
          </p:nvPr>
        </p:nvSpPr>
        <p:spPr>
          <a:xfrm>
            <a:off x="264952" y="0"/>
            <a:ext cx="8309295" cy="646331"/>
          </a:xfrm>
          <a:ln>
            <a:solidFill>
              <a:schemeClr val="accent4"/>
            </a:solidFill>
          </a:ln>
        </p:spPr>
        <p:txBody>
          <a:bodyPr/>
          <a:lstStyle/>
          <a:p>
            <a:pPr algn="ctr"/>
            <a:r>
              <a:rPr lang="en-US" sz="4000" b="1" cap="small">
                <a:solidFill>
                  <a:srgbClr val="27387E"/>
                </a:solidFill>
                <a:latin typeface="Bahnschrift" panose="020B0502040204020203" pitchFamily="34" charset="0"/>
              </a:rPr>
              <a:t>Putting it all together </a:t>
            </a:r>
            <a:endParaRPr lang="en-US" sz="4000" cap="small">
              <a:solidFill>
                <a:srgbClr val="27387E"/>
              </a:solidFill>
              <a:latin typeface="Bahnschrift" panose="020B0502040204020203" pitchFamily="34" charset="0"/>
            </a:endParaRPr>
          </a:p>
        </p:txBody>
      </p:sp>
      <p:sp>
        <p:nvSpPr>
          <p:cNvPr id="5" name="TextBox 4">
            <a:extLst>
              <a:ext uri="{FF2B5EF4-FFF2-40B4-BE49-F238E27FC236}">
                <a16:creationId xmlns:a16="http://schemas.microsoft.com/office/drawing/2014/main" id="{F26B394B-4A5E-9A6C-20B9-6071770804C9}"/>
              </a:ext>
            </a:extLst>
          </p:cNvPr>
          <p:cNvSpPr txBox="1"/>
          <p:nvPr/>
        </p:nvSpPr>
        <p:spPr>
          <a:xfrm>
            <a:off x="374904" y="1243584"/>
            <a:ext cx="3282696" cy="3693319"/>
          </a:xfrm>
          <a:prstGeom prst="rect">
            <a:avLst/>
          </a:prstGeom>
          <a:noFill/>
        </p:spPr>
        <p:txBody>
          <a:bodyPr wrap="square" rtlCol="0">
            <a:spAutoFit/>
          </a:bodyPr>
          <a:lstStyle/>
          <a:p>
            <a:r>
              <a:rPr lang="en-US" sz="1800" b="1" i="0" u="none" strike="noStrike" baseline="0">
                <a:solidFill>
                  <a:srgbClr val="000000"/>
                </a:solidFill>
                <a:latin typeface="AAAAAE+AvenirNext-Bold"/>
              </a:rPr>
              <a:t>South Shore Support Services has outfitted an entire “smart apartment” with a calm living space and cutting-edge Assistive Technology (AT) in charming Cohasset Village. The goal of the apartment is to help individuals with complex needs learn basic independent living skills in a safe and supported environment. The apartment offers 24-hr staff and various AT to assist with apartment duties. </a:t>
            </a:r>
            <a:endParaRPr lang="en-US"/>
          </a:p>
        </p:txBody>
      </p:sp>
      <p:sp>
        <p:nvSpPr>
          <p:cNvPr id="9" name="AutoShape 2" descr="Image result for commonwealth of massachusetts seal">
            <a:extLst>
              <a:ext uri="{FF2B5EF4-FFF2-40B4-BE49-F238E27FC236}">
                <a16:creationId xmlns:a16="http://schemas.microsoft.com/office/drawing/2014/main" id="{95EDEBBB-5E63-3D01-4B81-B3FBB6DDCD64}"/>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 name="Picture 3" descr="Text: Putting It All Together">
            <a:extLst>
              <a:ext uri="{FF2B5EF4-FFF2-40B4-BE49-F238E27FC236}">
                <a16:creationId xmlns:a16="http://schemas.microsoft.com/office/drawing/2014/main" id="{B6DEFCDA-A43C-F50C-1294-60F728018376}"/>
              </a:ext>
            </a:extLst>
          </p:cNvPr>
          <p:cNvPicPr>
            <a:picLocks noChangeAspect="1"/>
          </p:cNvPicPr>
          <p:nvPr/>
        </p:nvPicPr>
        <p:blipFill>
          <a:blip r:embed="rId2"/>
          <a:stretch>
            <a:fillRect/>
          </a:stretch>
        </p:blipFill>
        <p:spPr>
          <a:xfrm>
            <a:off x="3931920" y="1143000"/>
            <a:ext cx="5212080" cy="2802386"/>
          </a:xfrm>
          <a:prstGeom prst="rect">
            <a:avLst/>
          </a:prstGeom>
        </p:spPr>
      </p:pic>
      <p:sp>
        <p:nvSpPr>
          <p:cNvPr id="7" name="TextBox 6">
            <a:extLst>
              <a:ext uri="{FF2B5EF4-FFF2-40B4-BE49-F238E27FC236}">
                <a16:creationId xmlns:a16="http://schemas.microsoft.com/office/drawing/2014/main" id="{55E81D04-42A1-65DF-470D-5E792332EF8C}"/>
              </a:ext>
            </a:extLst>
          </p:cNvPr>
          <p:cNvSpPr txBox="1"/>
          <p:nvPr/>
        </p:nvSpPr>
        <p:spPr>
          <a:xfrm>
            <a:off x="4129204" y="4520211"/>
            <a:ext cx="4800600" cy="1200329"/>
          </a:xfrm>
          <a:prstGeom prst="rect">
            <a:avLst/>
          </a:prstGeom>
          <a:noFill/>
        </p:spPr>
        <p:txBody>
          <a:bodyPr wrap="square" lIns="91440" tIns="45720" rIns="91440" bIns="45720" rtlCol="0" anchor="t">
            <a:spAutoFit/>
          </a:bodyPr>
          <a:lstStyle/>
          <a:p>
            <a:r>
              <a:rPr lang="en-US" dirty="0">
                <a:latin typeface="Arial"/>
              </a:rPr>
              <a:t>Through the use of AT and RSM supports, individuals are able to trial and train on various AT to improve their independence through a Respite Model. </a:t>
            </a:r>
          </a:p>
        </p:txBody>
      </p:sp>
      <p:sp>
        <p:nvSpPr>
          <p:cNvPr id="2" name="TextBox 1">
            <a:extLst>
              <a:ext uri="{FF2B5EF4-FFF2-40B4-BE49-F238E27FC236}">
                <a16:creationId xmlns:a16="http://schemas.microsoft.com/office/drawing/2014/main" id="{72C81C7D-225D-1A68-67F7-A70F13A6E42E}"/>
              </a:ext>
            </a:extLst>
          </p:cNvPr>
          <p:cNvSpPr txBox="1"/>
          <p:nvPr/>
        </p:nvSpPr>
        <p:spPr>
          <a:xfrm>
            <a:off x="374904" y="5847257"/>
            <a:ext cx="3621024" cy="646331"/>
          </a:xfrm>
          <a:prstGeom prst="rect">
            <a:avLst/>
          </a:prstGeom>
          <a:noFill/>
        </p:spPr>
        <p:txBody>
          <a:bodyPr wrap="square" rtlCol="0">
            <a:spAutoFit/>
          </a:bodyPr>
          <a:lstStyle/>
          <a:p>
            <a:r>
              <a:rPr lang="en-US">
                <a:solidFill>
                  <a:srgbClr val="00B050"/>
                </a:solidFill>
              </a:rPr>
              <a:t>23 have stayed, 3 pending</a:t>
            </a:r>
          </a:p>
          <a:p>
            <a:r>
              <a:rPr lang="en-US">
                <a:solidFill>
                  <a:srgbClr val="00B050"/>
                </a:solidFill>
              </a:rPr>
              <a:t>3 moved to their own apartments</a:t>
            </a:r>
          </a:p>
        </p:txBody>
      </p:sp>
    </p:spTree>
    <p:extLst>
      <p:ext uri="{BB962C8B-B14F-4D97-AF65-F5344CB8AC3E}">
        <p14:creationId xmlns:p14="http://schemas.microsoft.com/office/powerpoint/2010/main" val="23242247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D13A41DD-7A08-701C-EB0A-2E54924037E9}"/>
              </a:ext>
            </a:extLst>
          </p:cNvPr>
          <p:cNvSpPr>
            <a:spLocks noGrp="1"/>
          </p:cNvSpPr>
          <p:nvPr>
            <p:ph type="title" idx="4294967295"/>
          </p:nvPr>
        </p:nvSpPr>
        <p:spPr>
          <a:xfrm>
            <a:off x="470328" y="536208"/>
            <a:ext cx="7772400" cy="879389"/>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Arial"/>
                <a:ea typeface="+mn-ea"/>
                <a:cs typeface="+mn-cs"/>
              </a:rPr>
              <a:t>Addressing needs and training in multiple life domains</a:t>
            </a:r>
            <a:endParaRPr kumimoji="0" lang="en-US" sz="1600" b="1" i="0" u="none" strike="noStrike" kern="0" cap="none" spc="0" normalizeH="0" baseline="0" noProof="0" dirty="0">
              <a:ln>
                <a:noFill/>
              </a:ln>
              <a:solidFill>
                <a:schemeClr val="accent6">
                  <a:lumMod val="49000"/>
                </a:schemeClr>
              </a:solidFill>
              <a:effectLst/>
              <a:uLnTx/>
              <a:uFillTx/>
              <a:latin typeface="Arial"/>
              <a:ea typeface="+mj-ea"/>
              <a:cs typeface="Arial"/>
            </a:endParaRPr>
          </a:p>
        </p:txBody>
      </p:sp>
      <p:sp>
        <p:nvSpPr>
          <p:cNvPr id="12" name="TextBox 11">
            <a:extLst>
              <a:ext uri="{FF2B5EF4-FFF2-40B4-BE49-F238E27FC236}">
                <a16:creationId xmlns:a16="http://schemas.microsoft.com/office/drawing/2014/main" id="{B700AE1D-602F-97D6-F52E-772ACDBA6C3C}"/>
              </a:ext>
            </a:extLst>
          </p:cNvPr>
          <p:cNvSpPr txBox="1"/>
          <p:nvPr/>
        </p:nvSpPr>
        <p:spPr>
          <a:xfrm>
            <a:off x="228701" y="1221691"/>
            <a:ext cx="7885670" cy="32316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kumimoji="0" lang="en-US" sz="2000" b="1" i="0" u="none" strike="noStrike" kern="0" cap="none" spc="0" normalizeH="0" baseline="0" noProof="0" dirty="0">
                <a:ln>
                  <a:noFill/>
                </a:ln>
                <a:solidFill>
                  <a:schemeClr val="accent6">
                    <a:lumMod val="49000"/>
                  </a:schemeClr>
                </a:solidFill>
                <a:effectLst/>
                <a:uLnTx/>
                <a:uFillTx/>
                <a:latin typeface="Arial"/>
                <a:ea typeface="+mj-ea"/>
                <a:cs typeface="Arial"/>
              </a:rPr>
              <a:t>Individuals work on:  meal planning, meal prep, laundry, activities of daily living, community skills, and general housekeeping and safety skills with access to 24-hour staffing.</a:t>
            </a:r>
            <a:r>
              <a:rPr kumimoji="0" lang="en-US" sz="2000" b="0" i="0" u="none" strike="noStrike" kern="0" cap="none" spc="0" normalizeH="0" baseline="0" noProof="0" dirty="0">
                <a:ln>
                  <a:noFill/>
                </a:ln>
                <a:solidFill>
                  <a:schemeClr val="accent6">
                    <a:lumMod val="49000"/>
                  </a:schemeClr>
                </a:solidFill>
                <a:effectLst/>
                <a:uLnTx/>
                <a:uFillTx/>
                <a:latin typeface="Arial"/>
                <a:ea typeface="+mj-ea"/>
                <a:cs typeface="Arial"/>
              </a:rPr>
              <a:t> </a:t>
            </a:r>
            <a:endParaRPr kumimoji="0" lang="en-US" sz="2000" b="1" i="0" u="none" strike="noStrike" kern="0" cap="none" spc="0" normalizeH="0" baseline="0" noProof="0" dirty="0">
              <a:ln>
                <a:noFill/>
              </a:ln>
              <a:solidFill>
                <a:schemeClr val="accent6">
                  <a:lumMod val="49000"/>
                </a:schemeClr>
              </a:solidFill>
              <a:effectLst/>
              <a:uLnTx/>
              <a:uFillTx/>
              <a:latin typeface="Arial"/>
              <a:ea typeface="+mj-ea"/>
              <a:cs typeface="Arial"/>
            </a:endParaRPr>
          </a:p>
          <a:p>
            <a:pPr marL="285750" indent="-285750">
              <a:buFont typeface="Arial"/>
              <a:buChar char="•"/>
            </a:pPr>
            <a:endParaRPr lang="en-US" dirty="0"/>
          </a:p>
          <a:p>
            <a:pPr marL="285750" indent="-285750">
              <a:buFont typeface="Arial"/>
              <a:buChar char="•"/>
            </a:pPr>
            <a:endParaRPr lang="en-US" dirty="0"/>
          </a:p>
          <a:p>
            <a:pPr marL="285750" indent="-285750">
              <a:buFont typeface="Arial"/>
              <a:buChar char="•"/>
            </a:pPr>
            <a:endParaRPr lang="en-US" dirty="0"/>
          </a:p>
          <a:p>
            <a:pPr marL="285750" indent="-285750">
              <a:buFont typeface="Arial"/>
              <a:buChar char="•"/>
            </a:pPr>
            <a:endParaRPr lang="en-US" dirty="0"/>
          </a:p>
          <a:p>
            <a:pPr marL="285750" indent="-285750">
              <a:buFont typeface="Arial"/>
              <a:buChar char="•"/>
            </a:pPr>
            <a:endParaRPr lang="en-US" dirty="0"/>
          </a:p>
          <a:p>
            <a:pPr marL="285750" indent="-285750">
              <a:buFont typeface="Arial"/>
              <a:buChar char="•"/>
            </a:pPr>
            <a:endParaRPr lang="en-US" dirty="0"/>
          </a:p>
          <a:p>
            <a:pPr marL="285750" indent="-285750">
              <a:buFont typeface="Arial"/>
              <a:buChar char="•"/>
            </a:pPr>
            <a:endParaRPr lang="en-US" dirty="0"/>
          </a:p>
          <a:p>
            <a:pPr marL="285750" indent="-285750">
              <a:buFont typeface="Arial"/>
              <a:buChar char="•"/>
            </a:pPr>
            <a:endParaRPr lang="en-US" dirty="0"/>
          </a:p>
        </p:txBody>
      </p:sp>
      <p:sp>
        <p:nvSpPr>
          <p:cNvPr id="7" name="TextBox 6">
            <a:extLst>
              <a:ext uri="{FF2B5EF4-FFF2-40B4-BE49-F238E27FC236}">
                <a16:creationId xmlns:a16="http://schemas.microsoft.com/office/drawing/2014/main" id="{5528E8D6-734E-206D-F66E-99F350A064A0}"/>
              </a:ext>
            </a:extLst>
          </p:cNvPr>
          <p:cNvSpPr txBox="1"/>
          <p:nvPr/>
        </p:nvSpPr>
        <p:spPr>
          <a:xfrm>
            <a:off x="470328" y="2432736"/>
            <a:ext cx="8271303" cy="599651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0"/>
              </a:spcBef>
              <a:spcAft>
                <a:spcPts val="500"/>
              </a:spcAft>
            </a:pPr>
            <a:r>
              <a:rPr lang="en-US" b="1" dirty="0">
                <a:latin typeface="Arial"/>
              </a:rPr>
              <a:t>Safety and AT Features include</a:t>
            </a:r>
            <a:r>
              <a:rPr lang="en-US" dirty="0">
                <a:latin typeface="Arial"/>
              </a:rPr>
              <a:t>: </a:t>
            </a:r>
            <a:endParaRPr lang="en-US" dirty="0"/>
          </a:p>
          <a:p>
            <a:pPr marL="285750">
              <a:spcBef>
                <a:spcPts val="0"/>
              </a:spcBef>
              <a:spcAft>
                <a:spcPts val="500"/>
              </a:spcAft>
              <a:buFont typeface="Arial"/>
              <a:buChar char="•"/>
            </a:pPr>
            <a:r>
              <a:rPr lang="en-US" dirty="0">
                <a:latin typeface="Arial"/>
              </a:rPr>
              <a:t>Simply Home Monitoring and Communication device</a:t>
            </a:r>
          </a:p>
          <a:p>
            <a:pPr marL="285750">
              <a:spcBef>
                <a:spcPts val="0"/>
              </a:spcBef>
              <a:spcAft>
                <a:spcPts val="500"/>
              </a:spcAft>
              <a:buFont typeface="Arial"/>
              <a:buChar char="•"/>
            </a:pPr>
            <a:r>
              <a:rPr lang="en-US" dirty="0">
                <a:latin typeface="Arial"/>
              </a:rPr>
              <a:t>Ring Doorbell Monitoring for entry to/from the apartment</a:t>
            </a:r>
          </a:p>
          <a:p>
            <a:pPr marL="285750">
              <a:spcBef>
                <a:spcPts val="0"/>
              </a:spcBef>
              <a:spcAft>
                <a:spcPts val="500"/>
              </a:spcAft>
              <a:buFont typeface="Arial"/>
              <a:buChar char="•"/>
            </a:pPr>
            <a:r>
              <a:rPr lang="en-US" dirty="0">
                <a:latin typeface="Arial"/>
              </a:rPr>
              <a:t>Apple </a:t>
            </a:r>
            <a:r>
              <a:rPr lang="en-US" dirty="0" err="1">
                <a:latin typeface="Arial"/>
              </a:rPr>
              <a:t>Airtag</a:t>
            </a:r>
            <a:r>
              <a:rPr lang="en-US" dirty="0">
                <a:latin typeface="Arial"/>
              </a:rPr>
              <a:t> when in the community</a:t>
            </a:r>
          </a:p>
          <a:p>
            <a:pPr marL="285750">
              <a:spcBef>
                <a:spcPts val="0"/>
              </a:spcBef>
              <a:spcAft>
                <a:spcPts val="500"/>
              </a:spcAft>
              <a:buFont typeface="Arial"/>
              <a:buChar char="•"/>
            </a:pPr>
            <a:r>
              <a:rPr lang="en-US" dirty="0">
                <a:latin typeface="Arial"/>
              </a:rPr>
              <a:t>Fire Detection/Stoppers in the stove area</a:t>
            </a:r>
          </a:p>
          <a:p>
            <a:pPr marL="285750">
              <a:spcBef>
                <a:spcPts val="0"/>
              </a:spcBef>
              <a:spcAft>
                <a:spcPts val="500"/>
              </a:spcAft>
              <a:buFont typeface="Arial"/>
              <a:buChar char="•"/>
            </a:pPr>
            <a:r>
              <a:rPr lang="en-US" dirty="0">
                <a:latin typeface="Arial"/>
              </a:rPr>
              <a:t>Auto shut off when stove is left on unattended</a:t>
            </a:r>
            <a:endParaRPr lang="en-US" dirty="0"/>
          </a:p>
          <a:p>
            <a:pPr marL="285750">
              <a:spcBef>
                <a:spcPts val="0"/>
              </a:spcBef>
              <a:spcAft>
                <a:spcPts val="500"/>
              </a:spcAft>
              <a:buFont typeface="Arial"/>
              <a:buChar char="•"/>
            </a:pPr>
            <a:r>
              <a:rPr lang="en-US" dirty="0">
                <a:latin typeface="Arial"/>
              </a:rPr>
              <a:t>Auto shut off for shower if water becomes too hot</a:t>
            </a:r>
            <a:endParaRPr lang="en-US" dirty="0"/>
          </a:p>
          <a:p>
            <a:pPr marL="285750">
              <a:spcBef>
                <a:spcPts val="0"/>
              </a:spcBef>
              <a:spcAft>
                <a:spcPts val="500"/>
              </a:spcAft>
              <a:buFont typeface="Arial"/>
              <a:buChar char="•"/>
            </a:pPr>
            <a:r>
              <a:rPr lang="en-US" dirty="0">
                <a:latin typeface="Arial"/>
              </a:rPr>
              <a:t>Kitchen assistive technology tools</a:t>
            </a:r>
            <a:endParaRPr lang="en-US" dirty="0"/>
          </a:p>
          <a:p>
            <a:pPr marL="285750">
              <a:spcBef>
                <a:spcPts val="0"/>
              </a:spcBef>
              <a:spcAft>
                <a:spcPts val="500"/>
              </a:spcAft>
              <a:buFont typeface="Arial"/>
              <a:buChar char="•"/>
            </a:pPr>
            <a:r>
              <a:rPr lang="en-US" dirty="0">
                <a:latin typeface="Arial"/>
              </a:rPr>
              <a:t>Bathroom bidet to support hygiene</a:t>
            </a:r>
            <a:endParaRPr lang="en-US" dirty="0"/>
          </a:p>
          <a:p>
            <a:pPr marL="285750">
              <a:spcBef>
                <a:spcPts val="0"/>
              </a:spcBef>
              <a:spcAft>
                <a:spcPts val="500"/>
              </a:spcAft>
              <a:buFont typeface="Arial"/>
              <a:buChar char="•"/>
            </a:pPr>
            <a:r>
              <a:rPr lang="en-US" dirty="0">
                <a:latin typeface="Arial"/>
              </a:rPr>
              <a:t>24hr support both remote and in-person depending on individual preference and abilities</a:t>
            </a:r>
          </a:p>
          <a:p>
            <a:pPr marL="285750" indent="-285750">
              <a:buFont typeface="Arial"/>
              <a:buChar char="•"/>
            </a:pPr>
            <a:endParaRPr lang="en-US" dirty="0"/>
          </a:p>
          <a:p>
            <a:pPr marL="285750" indent="-285750">
              <a:buFont typeface="Arial"/>
              <a:buChar char="•"/>
            </a:pPr>
            <a:endParaRPr lang="en-US" dirty="0"/>
          </a:p>
          <a:p>
            <a:pPr marL="285750" indent="-285750">
              <a:buFont typeface="Arial"/>
              <a:buChar char="•"/>
            </a:pPr>
            <a:endParaRPr lang="en-US" dirty="0"/>
          </a:p>
          <a:p>
            <a:pPr marL="285750" indent="-285750">
              <a:buFont typeface="Arial"/>
              <a:buChar char="•"/>
            </a:pPr>
            <a:endParaRPr lang="en-US" dirty="0"/>
          </a:p>
          <a:p>
            <a:pPr marL="285750" indent="-285750">
              <a:buFont typeface="Arial"/>
              <a:buChar char="•"/>
            </a:pPr>
            <a:endParaRPr lang="en-US" dirty="0"/>
          </a:p>
          <a:p>
            <a:pPr marL="285750" indent="-285750">
              <a:buFont typeface="Arial"/>
              <a:buChar char="•"/>
            </a:pPr>
            <a:endParaRPr lang="en-US" dirty="0"/>
          </a:p>
          <a:p>
            <a:pPr marL="285750" indent="-285750">
              <a:buFont typeface="Arial"/>
              <a:buChar char="•"/>
            </a:pPr>
            <a:endParaRPr lang="en-US" dirty="0"/>
          </a:p>
          <a:p>
            <a:pPr marL="285750" indent="-285750">
              <a:buFont typeface="Arial"/>
              <a:buChar char="•"/>
            </a:pPr>
            <a:endParaRPr lang="en-US" dirty="0"/>
          </a:p>
        </p:txBody>
      </p:sp>
      <p:sp>
        <p:nvSpPr>
          <p:cNvPr id="3" name="Subtitle 2">
            <a:extLst>
              <a:ext uri="{FF2B5EF4-FFF2-40B4-BE49-F238E27FC236}">
                <a16:creationId xmlns:a16="http://schemas.microsoft.com/office/drawing/2014/main" id="{86C90FC1-86A0-C257-F126-5DB4284A75FB}"/>
              </a:ext>
            </a:extLst>
          </p:cNvPr>
          <p:cNvSpPr>
            <a:spLocks noGrp="1"/>
          </p:cNvSpPr>
          <p:nvPr>
            <p:ph type="body" sz="quarter" idx="15"/>
          </p:nvPr>
        </p:nvSpPr>
        <p:spPr/>
        <p:txBody>
          <a:bodyPr lIns="0" tIns="0" rIns="0" bIns="0" anchor="t"/>
          <a:lstStyle/>
          <a:p>
            <a:r>
              <a:rPr lang="en-US">
                <a:latin typeface="Arial"/>
                <a:cs typeface="Arial"/>
              </a:rPr>
              <a:t>Supportive Technology</a:t>
            </a:r>
            <a:endParaRPr lang="en-US"/>
          </a:p>
        </p:txBody>
      </p:sp>
    </p:spTree>
    <p:extLst>
      <p:ext uri="{BB962C8B-B14F-4D97-AF65-F5344CB8AC3E}">
        <p14:creationId xmlns:p14="http://schemas.microsoft.com/office/powerpoint/2010/main" val="18101458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7626F8-DCFD-B72E-447B-397F5907DB64}"/>
              </a:ext>
            </a:extLst>
          </p:cNvPr>
          <p:cNvSpPr txBox="1">
            <a:spLocks noGrp="1"/>
          </p:cNvSpPr>
          <p:nvPr>
            <p:ph type="title" idx="4294967295"/>
          </p:nvPr>
        </p:nvSpPr>
        <p:spPr>
          <a:xfrm>
            <a:off x="270829" y="1242633"/>
            <a:ext cx="8555051"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chemeClr val="dk1"/>
                </a:solidFill>
                <a:effectLst/>
                <a:uLnTx/>
                <a:uFillTx/>
                <a:latin typeface="Book Antiqua"/>
                <a:ea typeface="+mn-ea"/>
                <a:cs typeface="+mn-cs"/>
              </a:rPr>
              <a:t>RSM Impact Story</a:t>
            </a:r>
            <a:endParaRPr kumimoji="0" lang="en-US" sz="3200" b="1" i="0" u="none" strike="noStrike" kern="1200" cap="none" spc="0" normalizeH="0" baseline="0" noProof="0" dirty="0">
              <a:ln>
                <a:noFill/>
              </a:ln>
              <a:solidFill>
                <a:schemeClr val="dk1"/>
              </a:solidFill>
              <a:effectLst/>
              <a:uLnTx/>
              <a:uFillTx/>
              <a:latin typeface="Book Antiqua" pitchFamily="18" charset="0"/>
              <a:ea typeface="+mn-ea"/>
              <a:cs typeface="+mn-cs"/>
            </a:endParaRPr>
          </a:p>
        </p:txBody>
      </p:sp>
      <p:sp>
        <p:nvSpPr>
          <p:cNvPr id="2" name="TextBox 1" descr="Text: RSM Impact Story">
            <a:extLst>
              <a:ext uri="{FF2B5EF4-FFF2-40B4-BE49-F238E27FC236}">
                <a16:creationId xmlns:a16="http://schemas.microsoft.com/office/drawing/2014/main" id="{F12B3088-51AC-E156-DEFE-0F709D2005B5}"/>
              </a:ext>
            </a:extLst>
          </p:cNvPr>
          <p:cNvSpPr txBox="1"/>
          <p:nvPr/>
        </p:nvSpPr>
        <p:spPr>
          <a:xfrm>
            <a:off x="438912" y="1161288"/>
            <a:ext cx="8311896" cy="2729484"/>
          </a:xfrm>
          <a:prstGeom prst="rect">
            <a:avLst/>
          </a:prstGeom>
        </p:spPr>
        <p:txBody>
          <a:bodyPr wrap="square" rtlCol="0">
            <a:spAutoFit/>
          </a:bodyPr>
          <a:lstStyle/>
          <a:p>
            <a:pPr marL="0" indent="0">
              <a:buFont typeface="Wingdings" pitchFamily="2" charset="2"/>
              <a:buNone/>
            </a:pPr>
            <a:endParaRPr lang="en-US" sz="2400">
              <a:solidFill>
                <a:schemeClr val="dk1"/>
              </a:solidFill>
              <a:latin typeface="Book Antiqua" pitchFamily="18" charset="0"/>
            </a:endParaRPr>
          </a:p>
        </p:txBody>
      </p:sp>
      <p:sp>
        <p:nvSpPr>
          <p:cNvPr id="4" name="TextBox 3">
            <a:extLst>
              <a:ext uri="{FF2B5EF4-FFF2-40B4-BE49-F238E27FC236}">
                <a16:creationId xmlns:a16="http://schemas.microsoft.com/office/drawing/2014/main" id="{D8280839-1314-6628-24DE-50CEA8631000}"/>
              </a:ext>
            </a:extLst>
          </p:cNvPr>
          <p:cNvSpPr txBox="1"/>
          <p:nvPr/>
        </p:nvSpPr>
        <p:spPr>
          <a:xfrm>
            <a:off x="179967" y="1940146"/>
            <a:ext cx="8842248" cy="4431983"/>
          </a:xfrm>
          <a:prstGeom prst="rect">
            <a:avLst/>
          </a:prstGeom>
          <a:noFill/>
        </p:spPr>
        <p:txBody>
          <a:bodyPr wrap="square" lIns="91440" tIns="45720" rIns="91440" bIns="45720" anchor="t">
            <a:spAutoFit/>
          </a:bodyPr>
          <a:lstStyle/>
          <a:p>
            <a:pPr marL="0" marR="0">
              <a:spcAft>
                <a:spcPts val="1200"/>
              </a:spcAft>
            </a:pPr>
            <a:endParaRPr lang="en-US" sz="1200">
              <a:effectLst/>
              <a:latin typeface="Aptos" panose="020B0004020202020204" pitchFamily="34" charset="0"/>
              <a:ea typeface="Aptos" panose="020B0004020202020204" pitchFamily="34" charset="0"/>
              <a:cs typeface="Aptos" panose="020B0004020202020204" pitchFamily="34" charset="0"/>
            </a:endParaRPr>
          </a:p>
          <a:p>
            <a:r>
              <a:rPr lang="en-US" sz="2000" dirty="0">
                <a:solidFill>
                  <a:srgbClr val="000000"/>
                </a:solidFill>
                <a:effectLst/>
                <a:latin typeface="Aptos"/>
                <a:ea typeface="Times New Roman" panose="02020603050405020304" pitchFamily="18" charset="0"/>
                <a:cs typeface="Aptos" panose="020B0004020202020204" pitchFamily="34" charset="0"/>
              </a:rPr>
              <a:t>NL is a young woman who lives in her own apartment.  When she was having trouble remembering to get everything ready for work, completing her morning routine on time and calling her cab for a timely arrival to her job, her sisters would call several times a day to prompt her through</a:t>
            </a:r>
            <a:r>
              <a:rPr lang="en-US" sz="2000" dirty="0">
                <a:solidFill>
                  <a:srgbClr val="000000"/>
                </a:solidFill>
                <a:latin typeface="Aptos"/>
                <a:ea typeface="Times New Roman" panose="02020603050405020304" pitchFamily="18" charset="0"/>
                <a:cs typeface="Aptos" panose="020B0004020202020204" pitchFamily="34" charset="0"/>
              </a:rPr>
              <a:t> the process.  </a:t>
            </a:r>
            <a:r>
              <a:rPr lang="en-US" sz="2000" dirty="0">
                <a:solidFill>
                  <a:srgbClr val="000000"/>
                </a:solidFill>
                <a:effectLst/>
                <a:latin typeface="Aptos"/>
                <a:ea typeface="Times New Roman" panose="02020603050405020304" pitchFamily="18" charset="0"/>
                <a:cs typeface="Aptos" panose="020B0004020202020204" pitchFamily="34" charset="0"/>
              </a:rPr>
              <a:t>Since NL is the oldest sibling, the role her younger sisters had to take put a tremendous strain on their relationships.  NL started receiving RSM and had full input into her support plan.  She receives  a call after she arrives home from work with reminders to wash her uniform if needed and make her lunch.  In the morning, she receives a wakeup call with reminders about her routine before work.  She then receives a second call to be sure she has called the cab.  NL is thriving with these supports and her boss has indicated it has resolved any issues.  Her sisters also report they have gone back to the role of sisters and their relationship has improved. </a:t>
            </a:r>
            <a:endParaRPr lang="en-US" sz="2000" dirty="0">
              <a:effectLst/>
              <a:latin typeface="Times New Roman"/>
              <a:ea typeface="Aptos" panose="020B0004020202020204" pitchFamily="34" charset="0"/>
              <a:cs typeface="Aptos" panose="020B0004020202020204" pitchFamily="34" charset="0"/>
            </a:endParaRPr>
          </a:p>
        </p:txBody>
      </p:sp>
    </p:spTree>
    <p:extLst>
      <p:ext uri="{BB962C8B-B14F-4D97-AF65-F5344CB8AC3E}">
        <p14:creationId xmlns:p14="http://schemas.microsoft.com/office/powerpoint/2010/main" val="13798756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53B021B3-DE93-4AB7-8A18-CF5F1CED88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sp>
        <p:nvSpPr>
          <p:cNvPr id="2" name="Title 1">
            <a:extLst>
              <a:ext uri="{FF2B5EF4-FFF2-40B4-BE49-F238E27FC236}">
                <a16:creationId xmlns:a16="http://schemas.microsoft.com/office/drawing/2014/main" id="{37463221-855F-1DE7-6A65-C30F83759A01}"/>
              </a:ext>
            </a:extLst>
          </p:cNvPr>
          <p:cNvSpPr>
            <a:spLocks noGrp="1"/>
          </p:cNvSpPr>
          <p:nvPr>
            <p:ph type="title"/>
          </p:nvPr>
        </p:nvSpPr>
        <p:spPr>
          <a:xfrm>
            <a:off x="630936" y="1049274"/>
            <a:ext cx="7879842" cy="761238"/>
          </a:xfrm>
        </p:spPr>
        <p:txBody>
          <a:bodyPr anchor="b">
            <a:normAutofit/>
          </a:bodyPr>
          <a:lstStyle/>
          <a:p>
            <a:r>
              <a:rPr lang="en-US"/>
              <a:t>What’s Next? EOHHS Grant</a:t>
            </a:r>
          </a:p>
        </p:txBody>
      </p:sp>
      <p:sp>
        <p:nvSpPr>
          <p:cNvPr id="11" name="Rectangle 10">
            <a:extLst>
              <a:ext uri="{FF2B5EF4-FFF2-40B4-BE49-F238E27FC236}">
                <a16:creationId xmlns:a16="http://schemas.microsoft.com/office/drawing/2014/main" id="{52D502E5-F6B4-4D58-B4AE-FC466FF15E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465" y="2083127"/>
            <a:ext cx="7838694" cy="13716"/>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9DECDBF4-02B6-4BB4-B65B-B8107AD6A9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630936" y="2010882"/>
            <a:ext cx="1405093" cy="823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graphicFrame>
        <p:nvGraphicFramePr>
          <p:cNvPr id="5" name="Content Placeholder 2" descr="Four icons with captions highlighting technological advancements in care: Increased Remote Support Capabilities, Medication Management Systems, Biometric Health Monitoring to address Fatal 5, and Automated Documentation.">
            <a:extLst>
              <a:ext uri="{FF2B5EF4-FFF2-40B4-BE49-F238E27FC236}">
                <a16:creationId xmlns:a16="http://schemas.microsoft.com/office/drawing/2014/main" id="{357003BC-5EC0-F6BD-1836-FEA1D11443EA}"/>
              </a:ext>
            </a:extLst>
          </p:cNvPr>
          <p:cNvGraphicFramePr>
            <a:graphicFrameLocks noGrp="1"/>
          </p:cNvGraphicFramePr>
          <p:nvPr>
            <p:ph idx="1"/>
            <p:extLst>
              <p:ext uri="{D42A27DB-BD31-4B8C-83A1-F6EECF244321}">
                <p14:modId xmlns:p14="http://schemas.microsoft.com/office/powerpoint/2010/main" val="1753454336"/>
              </p:ext>
            </p:extLst>
          </p:nvPr>
        </p:nvGraphicFramePr>
        <p:xfrm>
          <a:off x="628650" y="2301950"/>
          <a:ext cx="7886700" cy="32681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265614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noGrp="1"/>
          </p:cNvSpPr>
          <p:nvPr>
            <p:ph type="title" idx="4294967295"/>
          </p:nvPr>
        </p:nvSpPr>
        <p:spPr>
          <a:xfrm>
            <a:off x="228701" y="809485"/>
            <a:ext cx="7924800" cy="45720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spcBef>
                <a:spcPct val="0"/>
              </a:spcBef>
              <a:spcAft>
                <a:spcPct val="0"/>
              </a:spcAft>
              <a:defRPr sz="2400" b="1">
                <a:solidFill>
                  <a:srgbClr val="0033CC"/>
                </a:solidFill>
                <a:latin typeface="Verdana" pitchFamily="34" charset="0"/>
                <a:cs typeface="Arial" charset="0"/>
              </a:defRPr>
            </a:lvl2pPr>
            <a:lvl3pPr algn="l" rtl="0" eaLnBrk="1" fontAlgn="base" hangingPunct="1">
              <a:spcBef>
                <a:spcPct val="0"/>
              </a:spcBef>
              <a:spcAft>
                <a:spcPct val="0"/>
              </a:spcAft>
              <a:defRPr sz="2400" b="1">
                <a:solidFill>
                  <a:srgbClr val="0033CC"/>
                </a:solidFill>
                <a:latin typeface="Verdana" pitchFamily="34" charset="0"/>
                <a:cs typeface="Arial" charset="0"/>
              </a:defRPr>
            </a:lvl3pPr>
            <a:lvl4pPr algn="l" rtl="0" eaLnBrk="1" fontAlgn="base" hangingPunct="1">
              <a:spcBef>
                <a:spcPct val="0"/>
              </a:spcBef>
              <a:spcAft>
                <a:spcPct val="0"/>
              </a:spcAft>
              <a:defRPr sz="2400" b="1">
                <a:solidFill>
                  <a:srgbClr val="0033CC"/>
                </a:solidFill>
                <a:latin typeface="Verdana" pitchFamily="34" charset="0"/>
                <a:cs typeface="Arial" charset="0"/>
              </a:defRPr>
            </a:lvl4pPr>
            <a:lvl5pPr algn="l" rtl="0" eaLnBrk="1" fontAlgn="base" hangingPunct="1">
              <a:spcBef>
                <a:spcPct val="0"/>
              </a:spcBef>
              <a:spcAft>
                <a:spcPct val="0"/>
              </a:spcAft>
              <a:defRPr sz="2400" b="1">
                <a:solidFill>
                  <a:srgbClr val="0033CC"/>
                </a:solidFill>
                <a:latin typeface="Verdana" pitchFamily="34" charset="0"/>
                <a:cs typeface="Arial" charset="0"/>
              </a:defRPr>
            </a:lvl5pPr>
            <a:lvl6pPr marL="457152" algn="l" rtl="0" eaLnBrk="1" fontAlgn="base" hangingPunct="1">
              <a:spcBef>
                <a:spcPct val="0"/>
              </a:spcBef>
              <a:spcAft>
                <a:spcPct val="0"/>
              </a:spcAft>
              <a:defRPr sz="2400" b="1">
                <a:solidFill>
                  <a:srgbClr val="0033CC"/>
                </a:solidFill>
                <a:latin typeface="Verdana" pitchFamily="34" charset="0"/>
                <a:cs typeface="Arial" charset="0"/>
              </a:defRPr>
            </a:lvl6pPr>
            <a:lvl7pPr marL="914303" algn="l" rtl="0" eaLnBrk="1" fontAlgn="base" hangingPunct="1">
              <a:spcBef>
                <a:spcPct val="0"/>
              </a:spcBef>
              <a:spcAft>
                <a:spcPct val="0"/>
              </a:spcAft>
              <a:defRPr sz="2400" b="1">
                <a:solidFill>
                  <a:srgbClr val="0033CC"/>
                </a:solidFill>
                <a:latin typeface="Verdana" pitchFamily="34" charset="0"/>
                <a:cs typeface="Arial" charset="0"/>
              </a:defRPr>
            </a:lvl7pPr>
            <a:lvl8pPr marL="1371455" algn="l" rtl="0" eaLnBrk="1" fontAlgn="base" hangingPunct="1">
              <a:spcBef>
                <a:spcPct val="0"/>
              </a:spcBef>
              <a:spcAft>
                <a:spcPct val="0"/>
              </a:spcAft>
              <a:defRPr sz="2400" b="1">
                <a:solidFill>
                  <a:srgbClr val="0033CC"/>
                </a:solidFill>
                <a:latin typeface="Verdana" pitchFamily="34" charset="0"/>
                <a:cs typeface="Arial" charset="0"/>
              </a:defRPr>
            </a:lvl8pPr>
            <a:lvl9pPr marL="1828606"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0" cap="none" spc="0" normalizeH="0" baseline="0" noProof="0" dirty="0">
                <a:ln>
                  <a:noFill/>
                </a:ln>
                <a:solidFill>
                  <a:srgbClr val="00269E"/>
                </a:solidFill>
                <a:effectLst/>
                <a:uLnTx/>
                <a:uFillTx/>
                <a:latin typeface="Arial"/>
                <a:ea typeface="+mj-ea"/>
                <a:cs typeface="Arial"/>
              </a:rPr>
              <a:t>THE FUTURE with SUPPORTIVE TECHNOLOGY</a:t>
            </a:r>
            <a:endParaRPr kumimoji="0" lang="en-US" sz="1800" b="1" i="0" u="none" strike="noStrike" kern="0" cap="none" spc="0" normalizeH="0" baseline="0" noProof="0" dirty="0">
              <a:ln>
                <a:noFill/>
              </a:ln>
              <a:solidFill>
                <a:srgbClr val="00269E"/>
              </a:solidFill>
              <a:effectLst/>
              <a:uLnTx/>
              <a:uFillTx/>
              <a:latin typeface="Arial" pitchFamily="34" charset="0"/>
              <a:ea typeface="+mj-ea"/>
              <a:cs typeface="Arial" pitchFamily="34" charset="0"/>
            </a:endParaRPr>
          </a:p>
        </p:txBody>
      </p:sp>
      <p:sp>
        <p:nvSpPr>
          <p:cNvPr id="4" name="Text Placeholder 3"/>
          <p:cNvSpPr>
            <a:spLocks noGrp="1"/>
          </p:cNvSpPr>
          <p:nvPr>
            <p:ph type="body" sz="quarter" idx="15"/>
          </p:nvPr>
        </p:nvSpPr>
        <p:spPr>
          <a:xfrm>
            <a:off x="228701" y="400073"/>
            <a:ext cx="7772400" cy="182880"/>
          </a:xfrm>
        </p:spPr>
        <p:txBody>
          <a:bodyPr lIns="0" tIns="0" rIns="0" bIns="0" anchor="t"/>
          <a:lstStyle/>
          <a:p>
            <a:r>
              <a:rPr lang="en-US">
                <a:latin typeface="Arial"/>
                <a:cs typeface="Arial"/>
              </a:rPr>
              <a:t>SUPPORTIVE TECHNOLOGY</a:t>
            </a:r>
            <a:endParaRPr lang="en-US"/>
          </a:p>
        </p:txBody>
      </p:sp>
      <p:sp>
        <p:nvSpPr>
          <p:cNvPr id="2" name="Rectangle 1">
            <a:extLst>
              <a:ext uri="{FF2B5EF4-FFF2-40B4-BE49-F238E27FC236}">
                <a16:creationId xmlns:a16="http://schemas.microsoft.com/office/drawing/2014/main" id="{A5EB189D-5B82-4476-B577-D7753BCD5AA8}"/>
              </a:ext>
            </a:extLst>
          </p:cNvPr>
          <p:cNvSpPr/>
          <p:nvPr/>
        </p:nvSpPr>
        <p:spPr>
          <a:xfrm>
            <a:off x="297809" y="1264725"/>
            <a:ext cx="8548381" cy="10679847"/>
          </a:xfrm>
          <a:prstGeom prst="rect">
            <a:avLst/>
          </a:prstGeom>
        </p:spPr>
        <p:txBody>
          <a:bodyPr wrap="square" lIns="91440" tIns="45720" rIns="91440" bIns="45720" anchor="t">
            <a:spAutoFit/>
          </a:bodyPr>
          <a:lstStyle/>
          <a:p>
            <a:pPr marL="342900" indent="-342900">
              <a:buFont typeface="Arial" panose="020B0604020202020204" pitchFamily="34" charset="0"/>
              <a:buChar char="•"/>
            </a:pPr>
            <a:r>
              <a:rPr lang="en-US" sz="2400">
                <a:latin typeface="Arial"/>
              </a:rPr>
              <a:t>Supportive Technology is a key component as we look to greater independence and success for the individuals' we serve in their homes and community. </a:t>
            </a:r>
            <a:endParaRPr lang="en-US" sz="2400"/>
          </a:p>
          <a:p>
            <a:endParaRPr lang="en-US" sz="2400">
              <a:latin typeface="Arial"/>
            </a:endParaRPr>
          </a:p>
          <a:p>
            <a:pPr marL="342900" indent="-342900">
              <a:buFont typeface="Arial" panose="020B0604020202020204" pitchFamily="34" charset="0"/>
              <a:buChar char="•"/>
            </a:pPr>
            <a:r>
              <a:rPr lang="en-US" sz="2400">
                <a:latin typeface="Arial"/>
              </a:rPr>
              <a:t>Through embracing AT and RSM, DDS eligible individuals engage in more independent and functional lives, whether it is through communication, health and safety, employment or activities of daily living. Individuals are discovering new potentials through this service. </a:t>
            </a:r>
            <a:endParaRPr lang="en-US" sz="2400"/>
          </a:p>
          <a:p>
            <a:pPr marL="342900" indent="-342900">
              <a:buFont typeface="Arial" panose="020B0604020202020204" pitchFamily="34" charset="0"/>
              <a:buChar char="•"/>
            </a:pPr>
            <a:endParaRPr lang="en-US" sz="2400"/>
          </a:p>
          <a:p>
            <a:pPr marL="342900" indent="-342900">
              <a:buFont typeface="Arial" panose="020B0604020202020204" pitchFamily="34" charset="0"/>
              <a:buChar char="•"/>
            </a:pPr>
            <a:r>
              <a:rPr lang="en-US" sz="2400">
                <a:latin typeface="Arial"/>
              </a:rPr>
              <a:t>In addition, the use of AT can assist our work force situation through supporting workers in their jobs and by increasing independence for those we serve.</a:t>
            </a:r>
            <a:endParaRPr lang="en-US" sz="2400"/>
          </a:p>
          <a:p>
            <a:endParaRPr lang="en-US" sz="2400"/>
          </a:p>
          <a:p>
            <a:endParaRPr lang="en-US" sz="2400"/>
          </a:p>
          <a:p>
            <a:pPr marL="456565" lvl="1"/>
            <a:endParaRPr lang="en-US" sz="2400"/>
          </a:p>
          <a:p>
            <a:pPr marL="799465" lvl="1" indent="-342900">
              <a:spcBef>
                <a:spcPts val="0"/>
              </a:spcBef>
              <a:buClr>
                <a:srgbClr val="000000"/>
              </a:buClr>
              <a:buFont typeface="Courier New" panose="02070309020205020404" pitchFamily="49" charset="0"/>
              <a:buChar char="o"/>
            </a:pPr>
            <a:endParaRPr lang="en-US" sz="2400"/>
          </a:p>
          <a:p>
            <a:endParaRPr lang="en-US" sz="1600"/>
          </a:p>
          <a:p>
            <a:pPr marL="342900" indent="-342900">
              <a:spcBef>
                <a:spcPts val="0"/>
              </a:spcBef>
              <a:buClr>
                <a:srgbClr val="000000"/>
              </a:buClr>
              <a:buFont typeface="Arial" panose="020B0604020202020204" pitchFamily="34" charset="0"/>
              <a:buChar char="•"/>
            </a:pPr>
            <a:endParaRPr lang="en-US" sz="2400"/>
          </a:p>
          <a:p>
            <a:pPr marL="342900" indent="-342900">
              <a:spcBef>
                <a:spcPts val="0"/>
              </a:spcBef>
              <a:buClr>
                <a:srgbClr val="000000"/>
              </a:buClr>
              <a:buFont typeface="Arial" panose="020B0604020202020204" pitchFamily="34" charset="0"/>
              <a:buChar char="•"/>
            </a:pPr>
            <a:endParaRPr lang="en-US" sz="2400"/>
          </a:p>
          <a:p>
            <a:pPr>
              <a:spcBef>
                <a:spcPts val="0"/>
              </a:spcBef>
              <a:buClr>
                <a:srgbClr val="000000"/>
              </a:buClr>
            </a:pPr>
            <a:endParaRPr lang="en-US" sz="2400"/>
          </a:p>
          <a:p>
            <a:pPr marL="456565" lvl="1">
              <a:spcBef>
                <a:spcPts val="0"/>
              </a:spcBef>
              <a:buClr>
                <a:srgbClr val="000000"/>
              </a:buClr>
            </a:pPr>
            <a:endParaRPr lang="en-US" sz="2400"/>
          </a:p>
          <a:p>
            <a:pPr marL="456565" lvl="1">
              <a:spcBef>
                <a:spcPts val="0"/>
              </a:spcBef>
              <a:buClr>
                <a:srgbClr val="000000"/>
              </a:buClr>
            </a:pPr>
            <a:endParaRPr lang="en-US" sz="2400"/>
          </a:p>
          <a:p>
            <a:pPr marL="456565" lvl="1">
              <a:spcBef>
                <a:spcPts val="0"/>
              </a:spcBef>
              <a:buClr>
                <a:srgbClr val="000000"/>
              </a:buClr>
            </a:pPr>
            <a:endParaRPr lang="en-US" sz="2400"/>
          </a:p>
          <a:p>
            <a:pPr marL="456565" lvl="1">
              <a:spcBef>
                <a:spcPts val="0"/>
              </a:spcBef>
              <a:buClr>
                <a:srgbClr val="000000"/>
              </a:buClr>
            </a:pPr>
            <a:endParaRPr lang="en-US" sz="2400"/>
          </a:p>
          <a:p>
            <a:pPr marL="799465" lvl="1" indent="-342900">
              <a:spcBef>
                <a:spcPts val="0"/>
              </a:spcBef>
              <a:buClr>
                <a:srgbClr val="000000"/>
              </a:buClr>
              <a:buFont typeface="Wingdings" panose="05000000000000000000" pitchFamily="2" charset="2"/>
              <a:buChar char="§"/>
            </a:pPr>
            <a:endParaRPr lang="en-US" sz="2400"/>
          </a:p>
          <a:p>
            <a:pPr marL="799465" lvl="1" indent="-342900">
              <a:spcBef>
                <a:spcPts val="0"/>
              </a:spcBef>
              <a:buClr>
                <a:srgbClr val="000000"/>
              </a:buClr>
              <a:buFont typeface="Wingdings" panose="05000000000000000000" pitchFamily="2" charset="2"/>
              <a:buChar char="§"/>
            </a:pPr>
            <a:endParaRPr lang="en-US" sz="2400"/>
          </a:p>
          <a:p>
            <a:pPr marL="456565" lvl="1">
              <a:spcBef>
                <a:spcPts val="0"/>
              </a:spcBef>
              <a:buClr>
                <a:srgbClr val="000000"/>
              </a:buClr>
            </a:pPr>
            <a:endParaRPr lang="en-US" sz="2400"/>
          </a:p>
        </p:txBody>
      </p:sp>
      <p:graphicFrame>
        <p:nvGraphicFramePr>
          <p:cNvPr id="11" name="Table 10">
            <a:extLst>
              <a:ext uri="{FF2B5EF4-FFF2-40B4-BE49-F238E27FC236}">
                <a16:creationId xmlns:a16="http://schemas.microsoft.com/office/drawing/2014/main" id="{8E617C7C-8BA6-4EA5-8BBB-CF9BC60D2FD8}"/>
              </a:ext>
            </a:extLst>
          </p:cNvPr>
          <p:cNvGraphicFramePr>
            <a:graphicFrameLocks noGrp="1"/>
          </p:cNvGraphicFramePr>
          <p:nvPr>
            <p:extLst>
              <p:ext uri="{D42A27DB-BD31-4B8C-83A1-F6EECF244321}">
                <p14:modId xmlns:p14="http://schemas.microsoft.com/office/powerpoint/2010/main" val="2995992002"/>
              </p:ext>
            </p:extLst>
          </p:nvPr>
        </p:nvGraphicFramePr>
        <p:xfrm>
          <a:off x="3971109" y="5582194"/>
          <a:ext cx="208280" cy="365760"/>
        </p:xfrm>
        <a:graphic>
          <a:graphicData uri="http://schemas.openxmlformats.org/drawingml/2006/table">
            <a:tbl>
              <a:tblPr firstRow="1"/>
              <a:tblGrid>
                <a:gridCol w="208280">
                  <a:extLst>
                    <a:ext uri="{9D8B030D-6E8A-4147-A177-3AD203B41FA5}">
                      <a16:colId xmlns:a16="http://schemas.microsoft.com/office/drawing/2014/main" val="634808334"/>
                    </a:ext>
                  </a:extLst>
                </a:gridCol>
              </a:tblGrid>
              <a:tr h="0">
                <a:tc>
                  <a:txBody>
                    <a:bodyPr/>
                    <a:lstStyle/>
                    <a:p>
                      <a:endParaRPr lang="en-US" dirty="0"/>
                    </a:p>
                  </a:txBody>
                  <a:tcPr>
                    <a:lnL>
                      <a:noFill/>
                    </a:lnL>
                    <a:lnR>
                      <a:noFill/>
                    </a:lnR>
                    <a:lnT>
                      <a:noFill/>
                    </a:lnT>
                    <a:lnB>
                      <a:noFill/>
                    </a:lnB>
                  </a:tcPr>
                </a:tc>
                <a:extLst>
                  <a:ext uri="{0D108BD9-81ED-4DB2-BD59-A6C34878D82A}">
                    <a16:rowId xmlns:a16="http://schemas.microsoft.com/office/drawing/2014/main" val="704768333"/>
                  </a:ext>
                </a:extLst>
              </a:tr>
            </a:tbl>
          </a:graphicData>
        </a:graphic>
      </p:graphicFrame>
    </p:spTree>
    <p:extLst>
      <p:ext uri="{BB962C8B-B14F-4D97-AF65-F5344CB8AC3E}">
        <p14:creationId xmlns:p14="http://schemas.microsoft.com/office/powerpoint/2010/main" val="40679900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2" descr="Image result for commonwealth of massachusetts seal">
            <a:extLst>
              <a:ext uri="{FF2B5EF4-FFF2-40B4-BE49-F238E27FC236}">
                <a16:creationId xmlns:a16="http://schemas.microsoft.com/office/drawing/2014/main" id="{E89F6C5F-D09A-4AC8-BC05-8968C2359360}"/>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itle 5">
            <a:extLst>
              <a:ext uri="{FF2B5EF4-FFF2-40B4-BE49-F238E27FC236}">
                <a16:creationId xmlns:a16="http://schemas.microsoft.com/office/drawing/2014/main" id="{2C661D0D-9B30-4E51-966A-EF39BA6ED21A}"/>
              </a:ext>
            </a:extLst>
          </p:cNvPr>
          <p:cNvSpPr>
            <a:spLocks noGrp="1"/>
          </p:cNvSpPr>
          <p:nvPr>
            <p:ph type="ctrTitle"/>
          </p:nvPr>
        </p:nvSpPr>
        <p:spPr>
          <a:xfrm>
            <a:off x="457199" y="3245822"/>
            <a:ext cx="8309295" cy="646331"/>
          </a:xfrm>
          <a:ln>
            <a:solidFill>
              <a:schemeClr val="accent4"/>
            </a:solidFill>
          </a:ln>
        </p:spPr>
        <p:txBody>
          <a:bodyPr/>
          <a:lstStyle/>
          <a:p>
            <a:pPr algn="ctr"/>
            <a:r>
              <a:rPr lang="en-US" sz="4000" b="1" cap="small">
                <a:solidFill>
                  <a:srgbClr val="27387E"/>
                </a:solidFill>
                <a:latin typeface="Bahnschrift" panose="020B0502040204020203" pitchFamily="34" charset="0"/>
              </a:rPr>
              <a:t>Questions</a:t>
            </a:r>
            <a:endParaRPr lang="en-US" sz="4000" cap="small">
              <a:solidFill>
                <a:srgbClr val="27387E"/>
              </a:solidFill>
              <a:latin typeface="Bahnschrift" panose="020B0502040204020203" pitchFamily="34" charset="0"/>
            </a:endParaRPr>
          </a:p>
        </p:txBody>
      </p:sp>
    </p:spTree>
    <p:extLst>
      <p:ext uri="{BB962C8B-B14F-4D97-AF65-F5344CB8AC3E}">
        <p14:creationId xmlns:p14="http://schemas.microsoft.com/office/powerpoint/2010/main" val="29252339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53B021B3-DE93-4AB7-8A18-CF5F1CED88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85725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sp>
        <p:nvSpPr>
          <p:cNvPr id="2" name="Title 1">
            <a:extLst>
              <a:ext uri="{FF2B5EF4-FFF2-40B4-BE49-F238E27FC236}">
                <a16:creationId xmlns:a16="http://schemas.microsoft.com/office/drawing/2014/main" id="{C29363B8-143F-2A7A-34C5-0FB15DA4B328}"/>
              </a:ext>
            </a:extLst>
          </p:cNvPr>
          <p:cNvSpPr>
            <a:spLocks noGrp="1"/>
          </p:cNvSpPr>
          <p:nvPr>
            <p:ph type="title"/>
          </p:nvPr>
        </p:nvSpPr>
        <p:spPr>
          <a:xfrm>
            <a:off x="630936" y="1049274"/>
            <a:ext cx="7879842" cy="761238"/>
          </a:xfrm>
        </p:spPr>
        <p:txBody>
          <a:bodyPr anchor="b">
            <a:normAutofit/>
          </a:bodyPr>
          <a:lstStyle/>
          <a:p>
            <a:r>
              <a:rPr lang="en-US"/>
              <a:t>Need</a:t>
            </a:r>
          </a:p>
        </p:txBody>
      </p:sp>
      <p:sp>
        <p:nvSpPr>
          <p:cNvPr id="11" name="Rectangle 10">
            <a:extLst>
              <a:ext uri="{FF2B5EF4-FFF2-40B4-BE49-F238E27FC236}">
                <a16:creationId xmlns:a16="http://schemas.microsoft.com/office/drawing/2014/main" id="{52D502E5-F6B4-4D58-B4AE-FC466FF15E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9465" y="2083127"/>
            <a:ext cx="7838694" cy="13716"/>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sp>
        <p:nvSpPr>
          <p:cNvPr id="13" name="Rectangle 12">
            <a:extLst>
              <a:ext uri="{FF2B5EF4-FFF2-40B4-BE49-F238E27FC236}">
                <a16:creationId xmlns:a16="http://schemas.microsoft.com/office/drawing/2014/main" id="{9DECDBF4-02B6-4BB4-B65B-B8107AD6A9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630936" y="2010882"/>
            <a:ext cx="1405093" cy="823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Calibri" panose="020F0502020204030204"/>
            </a:endParaRPr>
          </a:p>
        </p:txBody>
      </p:sp>
      <p:graphicFrame>
        <p:nvGraphicFramePr>
          <p:cNvPr id="5" name="Content Placeholder 2" descr="Two rectangular boxes. The the box on the left has the text: “Gap in access to technology leading to barries in:” “Community access”, “vocational opportunities”, “social participation”. The second box reads: “Significant health inequities” “Higher motality rate from preventable diseases”, “Communication difficulties”">
            <a:extLst>
              <a:ext uri="{FF2B5EF4-FFF2-40B4-BE49-F238E27FC236}">
                <a16:creationId xmlns:a16="http://schemas.microsoft.com/office/drawing/2014/main" id="{41A5628B-EC36-202D-352C-60CB591957BC}"/>
              </a:ext>
            </a:extLst>
          </p:cNvPr>
          <p:cNvGraphicFramePr>
            <a:graphicFrameLocks noGrp="1"/>
          </p:cNvGraphicFramePr>
          <p:nvPr>
            <p:ph idx="1"/>
            <p:extLst>
              <p:ext uri="{D42A27DB-BD31-4B8C-83A1-F6EECF244321}">
                <p14:modId xmlns:p14="http://schemas.microsoft.com/office/powerpoint/2010/main" val="1918314186"/>
              </p:ext>
            </p:extLst>
          </p:nvPr>
        </p:nvGraphicFramePr>
        <p:xfrm>
          <a:off x="628650" y="2301950"/>
          <a:ext cx="7886700" cy="32681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963796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E5EF621-F639-581E-7906-B82CBF8F3162}"/>
              </a:ext>
            </a:extLst>
          </p:cNvPr>
          <p:cNvSpPr>
            <a:spLocks noGrp="1"/>
          </p:cNvSpPr>
          <p:nvPr>
            <p:ph type="title" idx="4294967295"/>
          </p:nvPr>
        </p:nvSpPr>
        <p:spPr>
          <a:xfrm>
            <a:off x="238134" y="915264"/>
            <a:ext cx="8782031"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uLnTx/>
                <a:uFillTx/>
                <a:latin typeface="Arial" charset="0"/>
                <a:ea typeface="+mn-ea"/>
                <a:cs typeface="+mn-cs"/>
              </a:rPr>
              <a:t>Addressing Barriers to AT Access</a:t>
            </a:r>
          </a:p>
        </p:txBody>
      </p:sp>
      <p:sp>
        <p:nvSpPr>
          <p:cNvPr id="3" name="Text Placeholder 2">
            <a:extLst>
              <a:ext uri="{FF2B5EF4-FFF2-40B4-BE49-F238E27FC236}">
                <a16:creationId xmlns:a16="http://schemas.microsoft.com/office/drawing/2014/main" id="{0CF8BE84-F3C1-408A-83EF-05D96F4377B9}"/>
              </a:ext>
            </a:extLst>
          </p:cNvPr>
          <p:cNvSpPr>
            <a:spLocks noGrp="1"/>
          </p:cNvSpPr>
          <p:nvPr>
            <p:ph type="body" idx="1"/>
          </p:nvPr>
        </p:nvSpPr>
        <p:spPr/>
        <p:txBody>
          <a:bodyPr/>
          <a:lstStyle/>
          <a:p>
            <a:r>
              <a:rPr lang="en-US"/>
              <a:t>Barrier</a:t>
            </a:r>
          </a:p>
        </p:txBody>
      </p:sp>
      <p:graphicFrame>
        <p:nvGraphicFramePr>
          <p:cNvPr id="8" name="Content Placeholder 3" descr="A two-column diagram showing barriers to assistive technology access and corresponding solutions. Barriers listed are: Device mismatch, Lack of buy-in, Roles are unclear, Funding, Team is underprepared or lacks training, Maintenance, and Understudied. Approaches include: Person-centered assessment, Team-based assessment, Frameworks, Tiered model, Training/Resources, Ongoing supports, and Outcome surveys and research">
            <a:extLst>
              <a:ext uri="{FF2B5EF4-FFF2-40B4-BE49-F238E27FC236}">
                <a16:creationId xmlns:a16="http://schemas.microsoft.com/office/drawing/2014/main" id="{E69E4E53-6377-7177-324C-2465D669A43C}"/>
              </a:ext>
            </a:extLst>
          </p:cNvPr>
          <p:cNvGraphicFramePr>
            <a:graphicFrameLocks noGrp="1"/>
          </p:cNvGraphicFramePr>
          <p:nvPr>
            <p:ph sz="half" idx="2"/>
            <p:extLst>
              <p:ext uri="{D42A27DB-BD31-4B8C-83A1-F6EECF244321}">
                <p14:modId xmlns:p14="http://schemas.microsoft.com/office/powerpoint/2010/main" val="2871808997"/>
              </p:ext>
            </p:extLst>
          </p:nvPr>
        </p:nvGraphicFramePr>
        <p:xfrm>
          <a:off x="629842" y="2505075"/>
          <a:ext cx="3868340" cy="36845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 Placeholder 4">
            <a:extLst>
              <a:ext uri="{FF2B5EF4-FFF2-40B4-BE49-F238E27FC236}">
                <a16:creationId xmlns:a16="http://schemas.microsoft.com/office/drawing/2014/main" id="{E5D0651E-2A0F-8971-B6A4-A3F9CFE1B5EC}"/>
              </a:ext>
            </a:extLst>
          </p:cNvPr>
          <p:cNvSpPr>
            <a:spLocks noGrp="1"/>
          </p:cNvSpPr>
          <p:nvPr>
            <p:ph type="body" sz="quarter" idx="3"/>
          </p:nvPr>
        </p:nvSpPr>
        <p:spPr/>
        <p:txBody>
          <a:bodyPr/>
          <a:lstStyle/>
          <a:p>
            <a:r>
              <a:rPr lang="en-US"/>
              <a:t>Approach</a:t>
            </a:r>
          </a:p>
        </p:txBody>
      </p:sp>
      <p:sp>
        <p:nvSpPr>
          <p:cNvPr id="6" name="Content Placeholder 5">
            <a:extLst>
              <a:ext uri="{FF2B5EF4-FFF2-40B4-BE49-F238E27FC236}">
                <a16:creationId xmlns:a16="http://schemas.microsoft.com/office/drawing/2014/main" id="{D9F53C6A-60FD-A448-EF29-2975F8E52579}"/>
              </a:ext>
            </a:extLst>
          </p:cNvPr>
          <p:cNvSpPr>
            <a:spLocks noGrp="1"/>
          </p:cNvSpPr>
          <p:nvPr>
            <p:ph sz="quarter" idx="4"/>
          </p:nvPr>
        </p:nvSpPr>
        <p:spPr/>
        <p:txBody>
          <a:bodyPr>
            <a:normAutofit fontScale="92500" lnSpcReduction="10000"/>
          </a:bodyPr>
          <a:lstStyle/>
          <a:p>
            <a:pPr>
              <a:spcBef>
                <a:spcPts val="1200"/>
              </a:spcBef>
              <a:spcAft>
                <a:spcPts val="600"/>
              </a:spcAft>
            </a:pPr>
            <a:r>
              <a:rPr lang="en-US"/>
              <a:t>Person-centered assessment</a:t>
            </a:r>
          </a:p>
          <a:p>
            <a:pPr>
              <a:lnSpc>
                <a:spcPct val="150000"/>
              </a:lnSpc>
              <a:spcBef>
                <a:spcPts val="1200"/>
              </a:spcBef>
            </a:pPr>
            <a:r>
              <a:rPr lang="en-US"/>
              <a:t>Team-based assessment</a:t>
            </a:r>
          </a:p>
          <a:p>
            <a:pPr>
              <a:lnSpc>
                <a:spcPct val="160000"/>
              </a:lnSpc>
              <a:spcBef>
                <a:spcPts val="1200"/>
              </a:spcBef>
              <a:spcAft>
                <a:spcPts val="600"/>
              </a:spcAft>
            </a:pPr>
            <a:r>
              <a:rPr lang="en-US"/>
              <a:t>Frameworks</a:t>
            </a:r>
          </a:p>
          <a:p>
            <a:pPr>
              <a:lnSpc>
                <a:spcPct val="170000"/>
              </a:lnSpc>
              <a:spcBef>
                <a:spcPts val="600"/>
              </a:spcBef>
              <a:spcAft>
                <a:spcPts val="1200"/>
              </a:spcAft>
            </a:pPr>
            <a:r>
              <a:rPr lang="en-US"/>
              <a:t>Tiered Model</a:t>
            </a:r>
          </a:p>
          <a:p>
            <a:r>
              <a:rPr lang="en-US"/>
              <a:t>Training/Resources</a:t>
            </a:r>
          </a:p>
          <a:p>
            <a:pPr>
              <a:lnSpc>
                <a:spcPct val="160000"/>
              </a:lnSpc>
              <a:spcBef>
                <a:spcPts val="600"/>
              </a:spcBef>
              <a:spcAft>
                <a:spcPts val="600"/>
              </a:spcAft>
            </a:pPr>
            <a:r>
              <a:rPr lang="en-US"/>
              <a:t>Ongoing supports</a:t>
            </a:r>
          </a:p>
          <a:p>
            <a:r>
              <a:rPr lang="en-US"/>
              <a:t>Outcome surveys and research</a:t>
            </a:r>
          </a:p>
        </p:txBody>
      </p:sp>
    </p:spTree>
    <p:extLst>
      <p:ext uri="{BB962C8B-B14F-4D97-AF65-F5344CB8AC3E}">
        <p14:creationId xmlns:p14="http://schemas.microsoft.com/office/powerpoint/2010/main" val="39119445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A3D0CC-C484-534E-9EB5-92C8A4AF5332}"/>
              </a:ext>
            </a:extLst>
          </p:cNvPr>
          <p:cNvSpPr>
            <a:spLocks noGrp="1"/>
          </p:cNvSpPr>
          <p:nvPr>
            <p:ph type="title"/>
          </p:nvPr>
        </p:nvSpPr>
        <p:spPr/>
        <p:txBody>
          <a:bodyPr/>
          <a:lstStyle/>
          <a:p>
            <a:pPr algn="ctr"/>
            <a:r>
              <a:rPr lang="en-US" b="1">
                <a:ea typeface="Calibri Light"/>
                <a:cs typeface="Calibri Light"/>
              </a:rPr>
              <a:t>What do we mean when we say </a:t>
            </a:r>
            <a:br>
              <a:rPr lang="en-US" b="1">
                <a:ea typeface="Calibri Light"/>
                <a:cs typeface="Calibri Light"/>
              </a:rPr>
            </a:br>
            <a:r>
              <a:rPr lang="en-US" b="1">
                <a:ea typeface="Calibri Light"/>
                <a:cs typeface="Calibri Light"/>
              </a:rPr>
              <a:t>Technology Forward? </a:t>
            </a:r>
          </a:p>
        </p:txBody>
      </p:sp>
      <p:sp>
        <p:nvSpPr>
          <p:cNvPr id="3" name="Slide Number Placeholder 2">
            <a:extLst>
              <a:ext uri="{FF2B5EF4-FFF2-40B4-BE49-F238E27FC236}">
                <a16:creationId xmlns:a16="http://schemas.microsoft.com/office/drawing/2014/main" id="{24A692A8-E7EB-7F33-57E3-B8EC9C8178C6}"/>
              </a:ext>
            </a:extLst>
          </p:cNvPr>
          <p:cNvSpPr>
            <a:spLocks noGrp="1"/>
          </p:cNvSpPr>
          <p:nvPr>
            <p:ph type="sldNum" sz="quarter" idx="12"/>
          </p:nvPr>
        </p:nvSpPr>
        <p:spPr/>
        <p:txBody>
          <a:bodyPr/>
          <a:lstStyle/>
          <a:p>
            <a:pPr>
              <a:defRPr/>
            </a:pPr>
            <a:fld id="{9C0CE6A8-29A4-4DCA-8DF6-58DCCC5D35C7}" type="slidenum">
              <a:rPr lang="en-US" b="1" smtClean="0">
                <a:solidFill>
                  <a:prstClr val="black">
                    <a:tint val="75000"/>
                  </a:prstClr>
                </a:solidFill>
              </a:rPr>
              <a:pPr>
                <a:defRPr/>
              </a:pPr>
              <a:t>6</a:t>
            </a:fld>
            <a:endParaRPr lang="en-US" b="1">
              <a:solidFill>
                <a:prstClr val="black">
                  <a:tint val="75000"/>
                </a:prstClr>
              </a:solidFill>
            </a:endParaRPr>
          </a:p>
        </p:txBody>
      </p:sp>
      <p:sp>
        <p:nvSpPr>
          <p:cNvPr id="4" name="TextBox 3">
            <a:extLst>
              <a:ext uri="{FF2B5EF4-FFF2-40B4-BE49-F238E27FC236}">
                <a16:creationId xmlns:a16="http://schemas.microsoft.com/office/drawing/2014/main" id="{49FEE5D5-0DAD-556F-19EB-58F0ABF648AA}"/>
              </a:ext>
            </a:extLst>
          </p:cNvPr>
          <p:cNvSpPr txBox="1"/>
          <p:nvPr/>
        </p:nvSpPr>
        <p:spPr>
          <a:xfrm>
            <a:off x="1009650" y="1713939"/>
            <a:ext cx="7130302"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Massachusetts is one of the first states to embrace the Technology Forward Initiative for individuals served by Dept of Developmental Services through Supportive Technology initiative</a:t>
            </a:r>
            <a:endParaRPr lang="en-US">
              <a:cs typeface="Arial"/>
            </a:endParaRPr>
          </a:p>
        </p:txBody>
      </p:sp>
      <p:sp>
        <p:nvSpPr>
          <p:cNvPr id="6" name="TextBox 5">
            <a:extLst>
              <a:ext uri="{FF2B5EF4-FFF2-40B4-BE49-F238E27FC236}">
                <a16:creationId xmlns:a16="http://schemas.microsoft.com/office/drawing/2014/main" id="{CB47002E-EC13-3440-705D-CBD3FC791286}"/>
              </a:ext>
            </a:extLst>
          </p:cNvPr>
          <p:cNvSpPr txBox="1"/>
          <p:nvPr/>
        </p:nvSpPr>
        <p:spPr>
          <a:xfrm>
            <a:off x="1047189" y="3012140"/>
            <a:ext cx="684791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Supportive Technology allows the use of assistive technology to increase the opportunities for individuals to achieve greater independence and function in their lives</a:t>
            </a:r>
            <a:endParaRPr lang="en-US"/>
          </a:p>
        </p:txBody>
      </p:sp>
      <p:sp>
        <p:nvSpPr>
          <p:cNvPr id="7" name="TextBox 6">
            <a:extLst>
              <a:ext uri="{FF2B5EF4-FFF2-40B4-BE49-F238E27FC236}">
                <a16:creationId xmlns:a16="http://schemas.microsoft.com/office/drawing/2014/main" id="{30CE46A8-435A-F7B2-8CA3-10CB5518FA12}"/>
              </a:ext>
            </a:extLst>
          </p:cNvPr>
          <p:cNvSpPr txBox="1"/>
          <p:nvPr/>
        </p:nvSpPr>
        <p:spPr>
          <a:xfrm>
            <a:off x="1164851" y="4482912"/>
            <a:ext cx="6742018"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atin typeface="Arial"/>
                <a:cs typeface="Arial"/>
              </a:rPr>
              <a:t>Supportive Technology should be considered when authorizing services for a person with a disability before utilizing direct, professional support services to assist a person in an area that they could potentially be self-sufficient with appropriate assistive technology.</a:t>
            </a:r>
            <a:endParaRPr lang="en-US"/>
          </a:p>
        </p:txBody>
      </p:sp>
    </p:spTree>
    <p:extLst>
      <p:ext uri="{BB962C8B-B14F-4D97-AF65-F5344CB8AC3E}">
        <p14:creationId xmlns:p14="http://schemas.microsoft.com/office/powerpoint/2010/main" val="504951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BAD5C-9F86-8406-58F8-E34FC48EC591}"/>
              </a:ext>
            </a:extLst>
          </p:cNvPr>
          <p:cNvSpPr>
            <a:spLocks noGrp="1"/>
          </p:cNvSpPr>
          <p:nvPr>
            <p:ph type="title"/>
          </p:nvPr>
        </p:nvSpPr>
        <p:spPr>
          <a:xfrm>
            <a:off x="630936" y="1049274"/>
            <a:ext cx="7879842" cy="761238"/>
          </a:xfrm>
        </p:spPr>
        <p:txBody>
          <a:bodyPr vert="horz" lIns="68580" tIns="34290" rIns="68580" bIns="34290" rtlCol="0" anchor="b">
            <a:normAutofit/>
          </a:bodyPr>
          <a:lstStyle/>
          <a:p>
            <a:r>
              <a:rPr lang="en-US" kern="1200">
                <a:solidFill>
                  <a:schemeClr val="tx1"/>
                </a:solidFill>
                <a:latin typeface="+mj-lt"/>
                <a:ea typeface="+mj-ea"/>
                <a:cs typeface="+mj-cs"/>
              </a:rPr>
              <a:t>DDS AT Program = Facilitators</a:t>
            </a:r>
          </a:p>
        </p:txBody>
      </p:sp>
      <p:sp>
        <p:nvSpPr>
          <p:cNvPr id="5" name="Footer Placeholder 4">
            <a:extLst>
              <a:ext uri="{FF2B5EF4-FFF2-40B4-BE49-F238E27FC236}">
                <a16:creationId xmlns:a16="http://schemas.microsoft.com/office/drawing/2014/main" id="{9C66C5B0-72E6-7532-8D71-1998A0AAF903}"/>
              </a:ext>
            </a:extLst>
          </p:cNvPr>
          <p:cNvSpPr>
            <a:spLocks noGrp="1"/>
          </p:cNvSpPr>
          <p:nvPr>
            <p:ph type="ftr" sz="quarter" idx="11"/>
          </p:nvPr>
        </p:nvSpPr>
        <p:spPr>
          <a:xfrm>
            <a:off x="3028950" y="5624513"/>
            <a:ext cx="3086100" cy="273844"/>
          </a:xfrm>
        </p:spPr>
        <p:txBody>
          <a:bodyPr vert="horz" lIns="68580" tIns="34290" rIns="68580" bIns="34290" rtlCol="0" anchor="ctr">
            <a:normAutofit/>
          </a:bodyP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t>(Boot et al, 2018; President’s Committee ID, 2017)</a:t>
            </a:r>
          </a:p>
        </p:txBody>
      </p:sp>
      <p:sp>
        <p:nvSpPr>
          <p:cNvPr id="6" name="Slide Number Placeholder 5">
            <a:extLst>
              <a:ext uri="{FF2B5EF4-FFF2-40B4-BE49-F238E27FC236}">
                <a16:creationId xmlns:a16="http://schemas.microsoft.com/office/drawing/2014/main" id="{D892A823-E08D-F654-C819-F2F817F9F1D9}"/>
              </a:ext>
            </a:extLst>
          </p:cNvPr>
          <p:cNvSpPr>
            <a:spLocks noGrp="1"/>
          </p:cNvSpPr>
          <p:nvPr>
            <p:ph type="sldNum" sz="quarter" idx="12"/>
          </p:nvPr>
        </p:nvSpPr>
        <p:spPr>
          <a:xfrm>
            <a:off x="6654940" y="5624513"/>
            <a:ext cx="1858124" cy="273844"/>
          </a:xfrm>
        </p:spPr>
        <p:txBody>
          <a:bodyPr vert="horz" lIns="68580" tIns="34290" rIns="68580" bIns="34290" rtlCol="0" anchor="ctr">
            <a:normAutofit/>
          </a:bodyPr>
          <a:lstStyle/>
          <a:p>
            <a:pPr marL="0" marR="0" lvl="0" indent="0" algn="r" defTabSz="685800" rtl="0" eaLnBrk="1" fontAlgn="auto" latinLnBrk="0" hangingPunct="1">
              <a:lnSpc>
                <a:spcPct val="100000"/>
              </a:lnSpc>
              <a:spcBef>
                <a:spcPts val="0"/>
              </a:spcBef>
              <a:spcAft>
                <a:spcPts val="450"/>
              </a:spcAft>
              <a:buClrTx/>
              <a:buSzTx/>
              <a:buFontTx/>
              <a:buNone/>
              <a:tabLst/>
              <a:defRPr/>
            </a:pPr>
            <a:fld id="{DBA1B0FB-D917-4C8C-928F-313BD683BF39}" type="slidenum">
              <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450"/>
                </a:spcAft>
                <a:buClrTx/>
                <a:buSzTx/>
                <a:buFontTx/>
                <a:buNone/>
                <a:tabLst/>
                <a:defRPr/>
              </a:pPr>
              <a:t>7</a:t>
            </a:fld>
            <a:endParaRPr kumimoji="0" lang="en-US" sz="900" b="0" i="0" u="none" strike="noStrike" kern="1200" cap="none" spc="0" normalizeH="0" baseline="0" noProof="0">
              <a:ln>
                <a:noFill/>
              </a:ln>
              <a:solidFill>
                <a:prstClr val="black">
                  <a:lumMod val="50000"/>
                  <a:lumOff val="50000"/>
                </a:prstClr>
              </a:solidFill>
              <a:effectLst/>
              <a:uLnTx/>
              <a:uFillTx/>
              <a:latin typeface="Calibri" panose="020F0502020204030204"/>
              <a:ea typeface="+mn-ea"/>
              <a:cs typeface="+mn-cs"/>
            </a:endParaRPr>
          </a:p>
        </p:txBody>
      </p:sp>
      <p:graphicFrame>
        <p:nvGraphicFramePr>
          <p:cNvPr id="8" name="Content Placeholder 2" descr="ix labeled boxes representing key supports the DDS Assistive Technology program provides: 1) Policy: DDS created a program that addresses policy barriers. 2) Funding: Waiver service addresses insurance funding gap. 3) Lack of Access to Assessment: 12 agencies with expert providers. 4) Unawareness/Lack of Training: Team-based assessment and built-in training hours for the whole team. 5) Understudied Population/Subject: Innovation grants offer opportunities for studies.">
            <a:extLst>
              <a:ext uri="{FF2B5EF4-FFF2-40B4-BE49-F238E27FC236}">
                <a16:creationId xmlns:a16="http://schemas.microsoft.com/office/drawing/2014/main" id="{C8AFE6C3-3516-F54D-F7C1-A52D07378A60}"/>
              </a:ext>
            </a:extLst>
          </p:cNvPr>
          <p:cNvGraphicFramePr>
            <a:graphicFrameLocks noGrp="1"/>
          </p:cNvGraphicFramePr>
          <p:nvPr>
            <p:ph sz="half" idx="1"/>
            <p:extLst>
              <p:ext uri="{D42A27DB-BD31-4B8C-83A1-F6EECF244321}">
                <p14:modId xmlns:p14="http://schemas.microsoft.com/office/powerpoint/2010/main" val="1086740401"/>
              </p:ext>
            </p:extLst>
          </p:nvPr>
        </p:nvGraphicFramePr>
        <p:xfrm>
          <a:off x="628650" y="2301950"/>
          <a:ext cx="7886700" cy="32681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60510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5199994-21AE-49A2-BA0D-12E295989A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85725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685800" fontAlgn="auto">
              <a:spcBef>
                <a:spcPts val="0"/>
              </a:spcBef>
              <a:spcAft>
                <a:spcPts val="0"/>
              </a:spcAft>
              <a:defRPr/>
            </a:pPr>
            <a:endParaRPr lang="en-US" sz="1350">
              <a:solidFill>
                <a:prstClr val="white"/>
              </a:solidFill>
              <a:latin typeface="Calibri" panose="020F0502020204030204"/>
            </a:endParaRPr>
          </a:p>
        </p:txBody>
      </p:sp>
      <p:sp>
        <p:nvSpPr>
          <p:cNvPr id="2" name="Title 1">
            <a:extLst>
              <a:ext uri="{FF2B5EF4-FFF2-40B4-BE49-F238E27FC236}">
                <a16:creationId xmlns:a16="http://schemas.microsoft.com/office/drawing/2014/main" id="{0DFA0CBF-1E63-CBB5-DBC2-83D1F6C2BC3D}"/>
              </a:ext>
            </a:extLst>
          </p:cNvPr>
          <p:cNvSpPr>
            <a:spLocks noGrp="1"/>
          </p:cNvSpPr>
          <p:nvPr>
            <p:ph type="title"/>
          </p:nvPr>
        </p:nvSpPr>
        <p:spPr>
          <a:xfrm>
            <a:off x="631370" y="544287"/>
            <a:ext cx="7151915" cy="1580980"/>
          </a:xfrm>
        </p:spPr>
        <p:txBody>
          <a:bodyPr>
            <a:normAutofit/>
          </a:bodyPr>
          <a:lstStyle/>
          <a:p>
            <a:r>
              <a:rPr lang="en-US" sz="3600" b="1">
                <a:latin typeface="Aharoni" panose="02010803020104030203" pitchFamily="2" charset="-79"/>
                <a:cs typeface="Aharoni" panose="02010803020104030203" pitchFamily="2" charset="-79"/>
              </a:rPr>
              <a:t>DDS Tech Forward Initiative</a:t>
            </a:r>
          </a:p>
        </p:txBody>
      </p:sp>
      <p:sp>
        <p:nvSpPr>
          <p:cNvPr id="11" name="Arc 10">
            <a:extLst>
              <a:ext uri="{FF2B5EF4-FFF2-40B4-BE49-F238E27FC236}">
                <a16:creationId xmlns:a16="http://schemas.microsoft.com/office/drawing/2014/main" id="{A2C34835-4F79-4934-B151-D68E79764C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269068">
            <a:off x="6538384" y="3361707"/>
            <a:ext cx="2240924" cy="2240924"/>
          </a:xfrm>
          <a:prstGeom prst="arc">
            <a:avLst>
              <a:gd name="adj1" fmla="val 14441841"/>
              <a:gd name="adj2" fmla="val 0"/>
            </a:avLst>
          </a:prstGeom>
          <a:ln w="127000" cap="rnd">
            <a:solidFill>
              <a:schemeClr val="accent4">
                <a:alpha val="95000"/>
              </a:schemeClr>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defRPr/>
            </a:pPr>
            <a:endParaRPr lang="en-US" sz="1350">
              <a:solidFill>
                <a:srgbClr val="000000"/>
              </a:solidFill>
              <a:latin typeface="Calibri" panose="020F0502020204030204"/>
            </a:endParaRPr>
          </a:p>
        </p:txBody>
      </p:sp>
      <p:sp>
        <p:nvSpPr>
          <p:cNvPr id="3" name="Content Placeholder 2">
            <a:extLst>
              <a:ext uri="{FF2B5EF4-FFF2-40B4-BE49-F238E27FC236}">
                <a16:creationId xmlns:a16="http://schemas.microsoft.com/office/drawing/2014/main" id="{99067AC5-9B3A-186D-6537-7D52400F8201}"/>
              </a:ext>
            </a:extLst>
          </p:cNvPr>
          <p:cNvSpPr>
            <a:spLocks noGrp="1"/>
          </p:cNvSpPr>
          <p:nvPr>
            <p:ph idx="1"/>
          </p:nvPr>
        </p:nvSpPr>
        <p:spPr>
          <a:xfrm>
            <a:off x="457200" y="1894115"/>
            <a:ext cx="8198361" cy="3624036"/>
          </a:xfrm>
        </p:spPr>
        <p:txBody>
          <a:bodyPr>
            <a:normAutofit/>
          </a:bodyPr>
          <a:lstStyle/>
          <a:p>
            <a:r>
              <a:rPr lang="en-US" sz="2400">
                <a:cs typeface="Arial"/>
              </a:rPr>
              <a:t>2018: ARC of MA Innovation and Technology Task Force</a:t>
            </a:r>
          </a:p>
          <a:p>
            <a:r>
              <a:rPr lang="en-US" sz="2400">
                <a:cs typeface="Arial"/>
              </a:rPr>
              <a:t>April 2021: DDS launched the initiative.</a:t>
            </a:r>
          </a:p>
          <a:p>
            <a:pPr lvl="1"/>
            <a:r>
              <a:rPr lang="en-US" sz="2400">
                <a:cs typeface="Arial"/>
              </a:rPr>
              <a:t>Address the gap in technology access for people with developmental disabilities</a:t>
            </a:r>
          </a:p>
          <a:p>
            <a:pPr lvl="1"/>
            <a:r>
              <a:rPr lang="en-US" sz="2400">
                <a:cs typeface="Arial"/>
              </a:rPr>
              <a:t>Increase access to AT</a:t>
            </a:r>
          </a:p>
          <a:p>
            <a:pPr lvl="1"/>
            <a:r>
              <a:rPr lang="en-US" sz="2400">
                <a:cs typeface="Arial"/>
              </a:rPr>
              <a:t>Address chronic staff shortages</a:t>
            </a:r>
          </a:p>
          <a:p>
            <a:pPr lvl="1"/>
            <a:r>
              <a:rPr lang="en-US" sz="2400">
                <a:cs typeface="Arial"/>
              </a:rPr>
              <a:t>Increase functional independence for individuals</a:t>
            </a:r>
          </a:p>
          <a:p>
            <a:pPr lvl="1"/>
            <a:r>
              <a:rPr lang="en-US" sz="2400" b="1">
                <a:solidFill>
                  <a:srgbClr val="000000"/>
                </a:solidFill>
                <a:cs typeface="Arial"/>
              </a:rPr>
              <a:t>Shifts thinking to Tech Forward****Supportive Technology should be considered as a primary service for all adults.</a:t>
            </a:r>
          </a:p>
          <a:p>
            <a:pPr marL="342900" lvl="1" indent="0">
              <a:buNone/>
            </a:pPr>
            <a:endParaRPr lang="en-US" sz="2100">
              <a:cs typeface="Arial"/>
            </a:endParaRPr>
          </a:p>
        </p:txBody>
      </p:sp>
    </p:spTree>
    <p:extLst>
      <p:ext uri="{BB962C8B-B14F-4D97-AF65-F5344CB8AC3E}">
        <p14:creationId xmlns:p14="http://schemas.microsoft.com/office/powerpoint/2010/main" val="17197484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C661D0D-9B30-4E51-966A-EF39BA6ED21A}"/>
              </a:ext>
            </a:extLst>
          </p:cNvPr>
          <p:cNvSpPr>
            <a:spLocks noGrp="1"/>
          </p:cNvSpPr>
          <p:nvPr>
            <p:ph type="ctrTitle"/>
          </p:nvPr>
        </p:nvSpPr>
        <p:spPr>
          <a:xfrm>
            <a:off x="417352" y="1353014"/>
            <a:ext cx="8309295" cy="646331"/>
          </a:xfrm>
          <a:ln>
            <a:solidFill>
              <a:schemeClr val="accent4"/>
            </a:solidFill>
          </a:ln>
        </p:spPr>
        <p:txBody>
          <a:bodyPr/>
          <a:lstStyle/>
          <a:p>
            <a:pPr algn="ctr"/>
            <a:r>
              <a:rPr lang="en-US" sz="4000" b="1" cap="small">
                <a:solidFill>
                  <a:srgbClr val="27387E"/>
                </a:solidFill>
                <a:latin typeface="Bahnschrift" panose="020B0502040204020203" pitchFamily="34" charset="0"/>
              </a:rPr>
              <a:t>What is Assistive Technology</a:t>
            </a:r>
            <a:endParaRPr lang="en-US" sz="4000" cap="small">
              <a:solidFill>
                <a:srgbClr val="27387E"/>
              </a:solidFill>
              <a:latin typeface="Bahnschrift" panose="020B0502040204020203" pitchFamily="34" charset="0"/>
            </a:endParaRPr>
          </a:p>
        </p:txBody>
      </p:sp>
      <p:sp>
        <p:nvSpPr>
          <p:cNvPr id="2" name="TextBox 1">
            <a:extLst>
              <a:ext uri="{FF2B5EF4-FFF2-40B4-BE49-F238E27FC236}">
                <a16:creationId xmlns:a16="http://schemas.microsoft.com/office/drawing/2014/main" id="{DE312DFF-BA26-F6EF-50A6-2E087C9668A3}"/>
              </a:ext>
            </a:extLst>
          </p:cNvPr>
          <p:cNvSpPr txBox="1"/>
          <p:nvPr/>
        </p:nvSpPr>
        <p:spPr>
          <a:xfrm>
            <a:off x="417351" y="2212848"/>
            <a:ext cx="8309295" cy="4315925"/>
          </a:xfrm>
          <a:prstGeom prst="rect">
            <a:avLst/>
          </a:prstGeom>
          <a:noFill/>
        </p:spPr>
        <p:txBody>
          <a:bodyPr wrap="square" lIns="91440" tIns="45720" rIns="91440" bIns="45720" rtlCol="0" anchor="t">
            <a:spAutoFit/>
          </a:bodyPr>
          <a:lstStyle/>
          <a:p>
            <a:pPr algn="l" rtl="0" fontAlgn="base">
              <a:lnSpc>
                <a:spcPts val="1125"/>
              </a:lnSpc>
            </a:pPr>
            <a:endParaRPr lang="en-US">
              <a:solidFill>
                <a:srgbClr val="000000"/>
              </a:solidFill>
              <a:latin typeface="Arial" panose="020B0604020202020204" pitchFamily="34" charset="0"/>
            </a:endParaRPr>
          </a:p>
          <a:p>
            <a:pPr algn="l" rtl="0" fontAlgn="base"/>
            <a:r>
              <a:rPr lang="en-US" sz="2000" b="1">
                <a:solidFill>
                  <a:srgbClr val="000000"/>
                </a:solidFill>
                <a:latin typeface="Arial"/>
              </a:rPr>
              <a:t>Assistive Technology (AT) </a:t>
            </a:r>
            <a:r>
              <a:rPr lang="en-US" sz="2000">
                <a:solidFill>
                  <a:srgbClr val="000000"/>
                </a:solidFill>
                <a:latin typeface="Arial"/>
              </a:rPr>
              <a:t> According to ATIA: AT is any item, piece of equipment, software program, or product system that is used to increase, maintain or improve the functional capabilities of persons with disabilities. </a:t>
            </a:r>
          </a:p>
          <a:p>
            <a:pPr algn="l" rtl="0" fontAlgn="base"/>
            <a:endParaRPr lang="en-US" sz="2000">
              <a:solidFill>
                <a:srgbClr val="000000"/>
              </a:solidFill>
              <a:latin typeface="Arial" panose="020B0604020202020204" pitchFamily="34" charset="0"/>
            </a:endParaRPr>
          </a:p>
          <a:p>
            <a:pPr algn="l" rtl="0" fontAlgn="base"/>
            <a:r>
              <a:rPr lang="en-US" sz="2000">
                <a:solidFill>
                  <a:srgbClr val="000000"/>
                </a:solidFill>
                <a:latin typeface="Arial" panose="020B0604020202020204" pitchFamily="34" charset="0"/>
              </a:rPr>
              <a:t>AT can be no tech, low tech, or high tech. </a:t>
            </a:r>
          </a:p>
          <a:p>
            <a:pPr algn="l" rtl="0" fontAlgn="base"/>
            <a:endParaRPr lang="en-US" sz="2000" b="1">
              <a:solidFill>
                <a:srgbClr val="000000"/>
              </a:solidFill>
              <a:latin typeface="Arial" panose="020B0604020202020204" pitchFamily="34" charset="0"/>
            </a:endParaRPr>
          </a:p>
          <a:p>
            <a:r>
              <a:rPr lang="en-US" sz="2000">
                <a:solidFill>
                  <a:srgbClr val="000000"/>
                </a:solidFill>
                <a:latin typeface="Arial"/>
              </a:rPr>
              <a:t>AT can improve daily function based on a domain area of focus, including the use of Remote Supports and Monitoring (RSM) when appropriate</a:t>
            </a:r>
          </a:p>
          <a:p>
            <a:pPr algn="l" rtl="0" fontAlgn="base">
              <a:lnSpc>
                <a:spcPts val="1125"/>
              </a:lnSpc>
              <a:buFont typeface="Arial" panose="020B0604020202020204" pitchFamily="34" charset="0"/>
              <a:buChar char="•"/>
            </a:pPr>
            <a:endParaRPr lang="en-US" b="0" i="0">
              <a:solidFill>
                <a:srgbClr val="000000"/>
              </a:solidFill>
              <a:effectLst/>
              <a:latin typeface="Arial" panose="020B0604020202020204" pitchFamily="34" charset="0"/>
            </a:endParaRPr>
          </a:p>
          <a:p>
            <a:pPr algn="l" rtl="0" fontAlgn="base">
              <a:lnSpc>
                <a:spcPts val="1125"/>
              </a:lnSpc>
              <a:buFont typeface="Arial" panose="020B0604020202020204" pitchFamily="34" charset="0"/>
              <a:buChar char="•"/>
            </a:pPr>
            <a:endParaRPr lang="en-US">
              <a:solidFill>
                <a:srgbClr val="000000"/>
              </a:solidFill>
              <a:latin typeface="Arial" panose="020B0604020202020204" pitchFamily="34" charset="0"/>
            </a:endParaRPr>
          </a:p>
          <a:p>
            <a:pPr algn="l" rtl="0" fontAlgn="base">
              <a:lnSpc>
                <a:spcPts val="1125"/>
              </a:lnSpc>
              <a:buFont typeface="Arial" panose="020B0604020202020204" pitchFamily="34" charset="0"/>
              <a:buChar char="•"/>
            </a:pPr>
            <a:endParaRPr lang="en-US" b="0" i="0">
              <a:solidFill>
                <a:srgbClr val="000000"/>
              </a:solidFill>
              <a:effectLst/>
              <a:latin typeface="Arial" panose="020B0604020202020204" pitchFamily="34" charset="0"/>
            </a:endParaRPr>
          </a:p>
          <a:p>
            <a:pPr algn="l" rtl="0" fontAlgn="base">
              <a:lnSpc>
                <a:spcPts val="1125"/>
              </a:lnSpc>
              <a:buFont typeface="Arial" panose="020B0604020202020204" pitchFamily="34" charset="0"/>
              <a:buChar char="•"/>
            </a:pPr>
            <a:endParaRPr lang="en-US">
              <a:solidFill>
                <a:srgbClr val="000000"/>
              </a:solidFill>
              <a:latin typeface="Arial" panose="020B0604020202020204" pitchFamily="34" charset="0"/>
            </a:endParaRPr>
          </a:p>
          <a:p>
            <a:pPr algn="l" rtl="0" fontAlgn="base">
              <a:lnSpc>
                <a:spcPts val="1125"/>
              </a:lnSpc>
              <a:buFont typeface="Arial" panose="020B0604020202020204" pitchFamily="34" charset="0"/>
              <a:buChar char="•"/>
            </a:pPr>
            <a:endParaRPr lang="en-US" b="0" i="0">
              <a:solidFill>
                <a:srgbClr val="000000"/>
              </a:solidFill>
              <a:effectLst/>
              <a:latin typeface="Arial" panose="020B0604020202020204" pitchFamily="34" charset="0"/>
            </a:endParaRPr>
          </a:p>
          <a:p>
            <a:pPr algn="l" rtl="0" fontAlgn="base">
              <a:lnSpc>
                <a:spcPts val="1125"/>
              </a:lnSpc>
              <a:buFont typeface="Arial" panose="020B0604020202020204" pitchFamily="34" charset="0"/>
              <a:buChar char="•"/>
            </a:pPr>
            <a:endParaRPr lang="en-US">
              <a:solidFill>
                <a:srgbClr val="000000"/>
              </a:solidFill>
              <a:latin typeface="Arial" panose="020B0604020202020204" pitchFamily="34" charset="0"/>
            </a:endParaRPr>
          </a:p>
          <a:p>
            <a:pPr algn="l" rtl="0" fontAlgn="base">
              <a:lnSpc>
                <a:spcPts val="1125"/>
              </a:lnSpc>
              <a:buFont typeface="Arial" panose="020B0604020202020204" pitchFamily="34" charset="0"/>
              <a:buChar char="•"/>
            </a:pPr>
            <a:endParaRPr lang="en-US" b="0" i="0">
              <a:solidFill>
                <a:srgbClr val="000000"/>
              </a:solidFill>
              <a:effectLst/>
              <a:latin typeface="Arial" panose="020B0604020202020204" pitchFamily="34" charset="0"/>
            </a:endParaRPr>
          </a:p>
        </p:txBody>
      </p:sp>
      <p:sp>
        <p:nvSpPr>
          <p:cNvPr id="9" name="AutoShape 2" descr="Image result for commonwealth of massachusetts seal">
            <a:extLst>
              <a:ext uri="{FF2B5EF4-FFF2-40B4-BE49-F238E27FC236}">
                <a16:creationId xmlns:a16="http://schemas.microsoft.com/office/drawing/2014/main" id="{E89F6C5F-D09A-4AC8-BC05-8968C2359360}"/>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912957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Logo"/>
</p:tagLst>
</file>

<file path=ppt/tags/tag24.xml><?xml version="1.0" encoding="utf-8"?>
<p:tagLst xmlns:a="http://schemas.openxmlformats.org/drawingml/2006/main" xmlns:r="http://schemas.openxmlformats.org/officeDocument/2006/relationships" xmlns:p="http://schemas.openxmlformats.org/presentationml/2006/main">
  <p:tag name="NAME" val="Logo"/>
</p:tagLst>
</file>

<file path=ppt/tags/tag25.xml><?xml version="1.0" encoding="utf-8"?>
<p:tagLst xmlns:a="http://schemas.openxmlformats.org/drawingml/2006/main" xmlns:r="http://schemas.openxmlformats.org/officeDocument/2006/relationships" xmlns:p="http://schemas.openxmlformats.org/presentationml/2006/main">
  <p:tag name="NAME" val="Logo"/>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NAME" val="Logo"/>
</p:tagLst>
</file>

<file path=ppt/tags/tag45.xml><?xml version="1.0" encoding="utf-8"?>
<p:tagLst xmlns:a="http://schemas.openxmlformats.org/drawingml/2006/main" xmlns:r="http://schemas.openxmlformats.org/officeDocument/2006/relationships" xmlns:p="http://schemas.openxmlformats.org/presentationml/2006/main">
  <p:tag name="NAME" val="Logo"/>
</p:tagLst>
</file>

<file path=ppt/tags/tag46.xml><?xml version="1.0" encoding="utf-8"?>
<p:tagLst xmlns:a="http://schemas.openxmlformats.org/drawingml/2006/main" xmlns:r="http://schemas.openxmlformats.org/officeDocument/2006/relationships" xmlns:p="http://schemas.openxmlformats.org/presentationml/2006/main">
  <p:tag name="NAME" val="Logo"/>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nset">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a:bevelT w="101600" h="25400" prst="softRound"/>
            <a:contourClr>
              <a:schemeClr val="phClr">
                <a:shade val="30000"/>
              </a:schemeClr>
            </a:contourClr>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4_Office Theme">
  <a:themeElements>
    <a:clrScheme name="Custom 32">
      <a:dk1>
        <a:srgbClr val="000000"/>
      </a:dk1>
      <a:lt1>
        <a:srgbClr val="FFFFFF"/>
      </a:lt1>
      <a:dk2>
        <a:srgbClr val="00273B"/>
      </a:dk2>
      <a:lt2>
        <a:srgbClr val="E7E6E6"/>
      </a:lt2>
      <a:accent1>
        <a:srgbClr val="FED64E"/>
      </a:accent1>
      <a:accent2>
        <a:srgbClr val="F9A81D"/>
      </a:accent2>
      <a:accent3>
        <a:srgbClr val="91CBD6"/>
      </a:accent3>
      <a:accent4>
        <a:srgbClr val="00CEE4"/>
      </a:accent4>
      <a:accent5>
        <a:srgbClr val="FF709D"/>
      </a:accent5>
      <a:accent6>
        <a:srgbClr val="A773F4"/>
      </a:accent6>
      <a:hlink>
        <a:srgbClr val="0563C1"/>
      </a:hlink>
      <a:folHlink>
        <a:srgbClr val="954F72"/>
      </a:folHlink>
    </a:clrScheme>
    <a:fontScheme name="Custom 32">
      <a:majorFont>
        <a:latin typeface="Abadi"/>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vent-Design_Win32_CP_v6" id="{0191160B-D23B-4202-8AA1-9B54441F7748}" vid="{4EC44E1B-88B9-4D33-A912-F77AF46017BB}"/>
    </a:ext>
  </a:ext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EOTSS Theme">
  <a:themeElements>
    <a:clrScheme name="EOTSS Color Scheme">
      <a:dk1>
        <a:srgbClr val="141414"/>
      </a:dk1>
      <a:lt1>
        <a:srgbClr val="F2F2F2"/>
      </a:lt1>
      <a:dk2>
        <a:srgbClr val="535353"/>
      </a:dk2>
      <a:lt2>
        <a:srgbClr val="DCDCDC"/>
      </a:lt2>
      <a:accent1>
        <a:srgbClr val="14558F"/>
      </a:accent1>
      <a:accent2>
        <a:srgbClr val="43956F"/>
      </a:accent2>
      <a:accent3>
        <a:srgbClr val="F6C51B"/>
      </a:accent3>
      <a:accent4>
        <a:srgbClr val="A97405"/>
      </a:accent4>
      <a:accent5>
        <a:srgbClr val="A91B05"/>
      </a:accent5>
      <a:accent6>
        <a:srgbClr val="3BAEBA"/>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89611" tIns="44806" rIns="89611" bIns="44806" rtlCol="0">
        <a:spAutoFit/>
      </a:bodyPr>
      <a:lstStyle>
        <a:defPPr marL="222264">
          <a:defRPr sz="1000" i="1"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itdpowerpointtemplate">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89611" tIns="44806" rIns="89611" bIns="44806" rtlCol="0">
        <a:spAutoFit/>
      </a:bodyPr>
      <a:lstStyle>
        <a:defPPr marL="1588">
          <a:defRPr sz="1200"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BSC_CF_NYS006">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89611" tIns="44806" rIns="89611" bIns="44806" rtlCol="0">
        <a:spAutoFit/>
      </a:bodyPr>
      <a:lstStyle>
        <a:defPPr marL="1588">
          <a:defRPr sz="1200"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248e3af-aff9-49e6-9cb7-312d61038d0a">
      <Terms xmlns="http://schemas.microsoft.com/office/infopath/2007/PartnerControls"/>
    </lcf76f155ced4ddcb4097134ff3c332f>
    <TaxCatchAll xmlns="faa3c109-d376-4dba-8b93-c0310b7e3de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4B66F0959A0F6458BCD98DF75195999" ma:contentTypeVersion="20" ma:contentTypeDescription="Create a new document." ma:contentTypeScope="" ma:versionID="589f7f149509885411c0ae182e7f366b">
  <xsd:schema xmlns:xsd="http://www.w3.org/2001/XMLSchema" xmlns:xs="http://www.w3.org/2001/XMLSchema" xmlns:p="http://schemas.microsoft.com/office/2006/metadata/properties" xmlns:ns2="6248e3af-aff9-49e6-9cb7-312d61038d0a" xmlns:ns3="faa3c109-d376-4dba-8b93-c0310b7e3dee" targetNamespace="http://schemas.microsoft.com/office/2006/metadata/properties" ma:root="true" ma:fieldsID="c3807e64443ad2b027e61b6a1e3e4372" ns2:_="" ns3:_="">
    <xsd:import namespace="6248e3af-aff9-49e6-9cb7-312d61038d0a"/>
    <xsd:import namespace="faa3c109-d376-4dba-8b93-c0310b7e3de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AutoKeyPoints" minOccurs="0"/>
                <xsd:element ref="ns2:MediaServiceKeyPoints" minOccurs="0"/>
                <xsd:element ref="ns3:SharedWithUsers" minOccurs="0"/>
                <xsd:element ref="ns3:SharedWithDetails" minOccurs="0"/>
                <xsd:element ref="ns2:MediaServiceOCR" minOccurs="0"/>
                <xsd:element ref="ns2:MediaServiceGenerationTime" minOccurs="0"/>
                <xsd:element ref="ns2:MediaServiceEventHashCode" minOccurs="0"/>
                <xsd:element ref="ns2:MediaLengthInSeconds" minOccurs="0"/>
                <xsd:element ref="ns3:TaxCatchAll"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48e3af-aff9-49e6-9cb7-312d61038d0a"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abb1ab42-7277-4699-bffd-c4f8fd762ea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aa3c109-d376-4dba-8b93-c0310b7e3dee"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48a70d61-3e64-4d8c-a56e-30b104a81280}" ma:internalName="TaxCatchAll" ma:showField="CatchAllData" ma:web="faa3c109-d376-4dba-8b93-c0310b7e3de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15D6820-2341-4D58-943F-EB3099E274B0}">
  <ds:schemaRefs>
    <ds:schemaRef ds:uri="http://schemas.microsoft.com/sharepoint/v3/contenttype/forms"/>
  </ds:schemaRefs>
</ds:datastoreItem>
</file>

<file path=customXml/itemProps2.xml><?xml version="1.0" encoding="utf-8"?>
<ds:datastoreItem xmlns:ds="http://schemas.openxmlformats.org/officeDocument/2006/customXml" ds:itemID="{AEC6ACD9-E21E-4573-B4C0-AF461124DA9A}">
  <ds:schemaRefs>
    <ds:schemaRef ds:uri="http://schemas.microsoft.com/office/2006/metadata/properties"/>
    <ds:schemaRef ds:uri="http://schemas.microsoft.com/office/infopath/2007/PartnerControls"/>
    <ds:schemaRef ds:uri="6248e3af-aff9-49e6-9cb7-312d61038d0a"/>
    <ds:schemaRef ds:uri="faa3c109-d376-4dba-8b93-c0310b7e3dee"/>
  </ds:schemaRefs>
</ds:datastoreItem>
</file>

<file path=customXml/itemProps3.xml><?xml version="1.0" encoding="utf-8"?>
<ds:datastoreItem xmlns:ds="http://schemas.openxmlformats.org/officeDocument/2006/customXml" ds:itemID="{ED3343F5-A28A-4BAA-9933-0E67486BA0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48e3af-aff9-49e6-9cb7-312d61038d0a"/>
    <ds:schemaRef ds:uri="faa3c109-d376-4dba-8b93-c0310b7e3de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itdpowerpointtemplate</Template>
  <TotalTime>46</TotalTime>
  <Words>2705</Words>
  <Application>Microsoft Macintosh PowerPoint</Application>
  <PresentationFormat>On-screen Show (4:3)</PresentationFormat>
  <Paragraphs>323</Paragraphs>
  <Slides>39</Slides>
  <Notes>6</Notes>
  <HiddenSlides>0</HiddenSlides>
  <MMClips>0</MMClips>
  <ScaleCrop>false</ScaleCrop>
  <HeadingPairs>
    <vt:vector size="8" baseType="variant">
      <vt:variant>
        <vt:lpstr>Fonts Used</vt:lpstr>
      </vt:variant>
      <vt:variant>
        <vt:i4>18</vt:i4>
      </vt:variant>
      <vt:variant>
        <vt:lpstr>Theme</vt:lpstr>
      </vt:variant>
      <vt:variant>
        <vt:i4>13</vt:i4>
      </vt:variant>
      <vt:variant>
        <vt:lpstr>Embedded OLE Servers</vt:lpstr>
      </vt:variant>
      <vt:variant>
        <vt:i4>1</vt:i4>
      </vt:variant>
      <vt:variant>
        <vt:lpstr>Slide Titles</vt:lpstr>
      </vt:variant>
      <vt:variant>
        <vt:i4>39</vt:i4>
      </vt:variant>
    </vt:vector>
  </HeadingPairs>
  <TitlesOfParts>
    <vt:vector size="71" baseType="lpstr">
      <vt:lpstr>AAAAAE+AvenirNext-Bold</vt:lpstr>
      <vt:lpstr>Abadi</vt:lpstr>
      <vt:lpstr>Aharoni</vt:lpstr>
      <vt:lpstr>Aptos</vt:lpstr>
      <vt:lpstr>Aptos Display</vt:lpstr>
      <vt:lpstr>Arial</vt:lpstr>
      <vt:lpstr>Bahnschrift</vt:lpstr>
      <vt:lpstr>Book Antiqua</vt:lpstr>
      <vt:lpstr>Calibri</vt:lpstr>
      <vt:lpstr>Calibri Light</vt:lpstr>
      <vt:lpstr>Courier New</vt:lpstr>
      <vt:lpstr>Elephant Pro</vt:lpstr>
      <vt:lpstr>Source Sans Pro</vt:lpstr>
      <vt:lpstr>Source Sans Pro Light</vt:lpstr>
      <vt:lpstr>Symbol</vt:lpstr>
      <vt:lpstr>Times New Roman</vt:lpstr>
      <vt:lpstr>Verdana</vt:lpstr>
      <vt:lpstr>Wingdings</vt:lpstr>
      <vt:lpstr>itdpowerpointtemplate</vt:lpstr>
      <vt:lpstr>2_Blue Presentation Template - MA HHS - small logos</vt:lpstr>
      <vt:lpstr>1_itdpowerpointtemplate</vt:lpstr>
      <vt:lpstr>EOTSS Theme</vt:lpstr>
      <vt:lpstr>2_itdpowerpointtemplate</vt:lpstr>
      <vt:lpstr>BSC_CF_NYS006</vt:lpstr>
      <vt:lpstr>4_itdpowerpointtemplate</vt:lpstr>
      <vt:lpstr>1_BSC_CF_NYS006</vt:lpstr>
      <vt:lpstr>2_BSC_CF_NYS006</vt:lpstr>
      <vt:lpstr>1_Office Theme</vt:lpstr>
      <vt:lpstr>2_Office Theme</vt:lpstr>
      <vt:lpstr>3_Office Theme</vt:lpstr>
      <vt:lpstr>4_Office Theme</vt:lpstr>
      <vt:lpstr>think-cell Slide</vt:lpstr>
      <vt:lpstr>Supportive Technology – Technology First Assistive Technology and  Remote Supports &amp; Monitoring </vt:lpstr>
      <vt:lpstr>Technology  Forward Initiative</vt:lpstr>
      <vt:lpstr>Barriers to AT in I/DD</vt:lpstr>
      <vt:lpstr>Need</vt:lpstr>
      <vt:lpstr>Addressing Barriers to AT Access</vt:lpstr>
      <vt:lpstr>What do we mean when we say  Technology Forward? </vt:lpstr>
      <vt:lpstr>DDS AT Program = Facilitators</vt:lpstr>
      <vt:lpstr>DDS Tech Forward Initiative</vt:lpstr>
      <vt:lpstr>What is Assistive Technology</vt:lpstr>
      <vt:lpstr>Why Assistive Technology?</vt:lpstr>
      <vt:lpstr>Supportive Technology at DDS</vt:lpstr>
      <vt:lpstr>Assistive Technology Services involve 3 distinct components</vt:lpstr>
      <vt:lpstr> AT assessment is a collaborative process, not just a one-time event by a specialist </vt:lpstr>
      <vt:lpstr>AT Domains</vt:lpstr>
      <vt:lpstr>Literacy</vt:lpstr>
      <vt:lpstr>Communication</vt:lpstr>
      <vt:lpstr> Vocational/Educational/ Life Planning/Organization COGNATOPIA</vt:lpstr>
      <vt:lpstr>Health/Medical/Biometrics</vt:lpstr>
      <vt:lpstr>Hygiene</vt:lpstr>
      <vt:lpstr>Various Toothbrushing Options</vt:lpstr>
      <vt:lpstr>Simple integration of AT to help everyone</vt:lpstr>
      <vt:lpstr>Smart Phone Accessibility</vt:lpstr>
      <vt:lpstr>Some Low Tech/No Tech Options</vt:lpstr>
      <vt:lpstr>Impact Stories</vt:lpstr>
      <vt:lpstr>Impact Stories</vt:lpstr>
      <vt:lpstr>Data Analytics</vt:lpstr>
      <vt:lpstr>PROVIDERS</vt:lpstr>
      <vt:lpstr>Remote Supports &amp; Monitoring</vt:lpstr>
      <vt:lpstr>What is Remote Supports and Monitoring?</vt:lpstr>
      <vt:lpstr>FEATURES AND OPTIONS of REMOTE SUPPORTS &amp; MONITORING</vt:lpstr>
      <vt:lpstr>Personal Emergency Response System (PERS)</vt:lpstr>
      <vt:lpstr>Examples of Assistive Technology Use with Remote Supports &amp; Monitoring</vt:lpstr>
      <vt:lpstr>Levels of RSM</vt:lpstr>
      <vt:lpstr>Putting it all together </vt:lpstr>
      <vt:lpstr>Addressing needs and training in multiple life domains</vt:lpstr>
      <vt:lpstr>RSM Impact Story</vt:lpstr>
      <vt:lpstr>What’s Next? EOHHS Grant</vt:lpstr>
      <vt:lpstr>THE FUTURE with SUPPORTIVE TECHNOLOGY</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bject Header Here Subheader</dc:title>
  <dc:creator>Casey, Brigitte M (DDS)</dc:creator>
  <cp:lastModifiedBy>William C Woolery</cp:lastModifiedBy>
  <cp:revision>113</cp:revision>
  <dcterms:created xsi:type="dcterms:W3CDTF">2016-02-24T22:22:18Z</dcterms:created>
  <dcterms:modified xsi:type="dcterms:W3CDTF">2025-05-14T11:3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B66F0959A0F6458BCD98DF75195999</vt:lpwstr>
  </property>
  <property fmtid="{D5CDD505-2E9C-101B-9397-08002B2CF9AE}" pid="3" name="MediaServiceImageTags">
    <vt:lpwstr/>
  </property>
</Properties>
</file>